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8.xml" ContentType="application/vnd.openxmlformats-officedocument.drawingml.chart+xml"/>
  <Override PartName="/ppt/notesSlides/notesSlide11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2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0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1.xml" ContentType="application/vnd.openxmlformats-officedocument.drawingml.chart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3.xml" ContentType="application/vnd.openxmlformats-officedocument.drawingml.chart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9.xml" ContentType="application/vnd.openxmlformats-officedocument.presentationml.notesSlide+xml"/>
  <Override PartName="/ppt/charts/chart1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5" r:id="rId6"/>
    <p:sldMasterId id="2147483685" r:id="rId7"/>
    <p:sldMasterId id="2147483727" r:id="rId8"/>
  </p:sldMasterIdLst>
  <p:notesMasterIdLst>
    <p:notesMasterId r:id="rId53"/>
  </p:notesMasterIdLst>
  <p:handoutMasterIdLst>
    <p:handoutMasterId r:id="rId54"/>
  </p:handoutMasterIdLst>
  <p:sldIdLst>
    <p:sldId id="285" r:id="rId9"/>
    <p:sldId id="286" r:id="rId10"/>
    <p:sldId id="287" r:id="rId11"/>
    <p:sldId id="289" r:id="rId12"/>
    <p:sldId id="291" r:id="rId13"/>
    <p:sldId id="292" r:id="rId14"/>
    <p:sldId id="316" r:id="rId15"/>
    <p:sldId id="356" r:id="rId16"/>
    <p:sldId id="369" r:id="rId17"/>
    <p:sldId id="358" r:id="rId18"/>
    <p:sldId id="359" r:id="rId19"/>
    <p:sldId id="360" r:id="rId20"/>
    <p:sldId id="361" r:id="rId21"/>
    <p:sldId id="362" r:id="rId22"/>
    <p:sldId id="370" r:id="rId23"/>
    <p:sldId id="364" r:id="rId24"/>
    <p:sldId id="365" r:id="rId25"/>
    <p:sldId id="366" r:id="rId26"/>
    <p:sldId id="367" r:id="rId27"/>
    <p:sldId id="368" r:id="rId28"/>
    <p:sldId id="330" r:id="rId29"/>
    <p:sldId id="331" r:id="rId30"/>
    <p:sldId id="332" r:id="rId31"/>
    <p:sldId id="333" r:id="rId32"/>
    <p:sldId id="334" r:id="rId33"/>
    <p:sldId id="335" r:id="rId34"/>
    <p:sldId id="336" r:id="rId35"/>
    <p:sldId id="337" r:id="rId36"/>
    <p:sldId id="338" r:id="rId37"/>
    <p:sldId id="339" r:id="rId38"/>
    <p:sldId id="352" r:id="rId39"/>
    <p:sldId id="341" r:id="rId40"/>
    <p:sldId id="342" r:id="rId41"/>
    <p:sldId id="343" r:id="rId42"/>
    <p:sldId id="344" r:id="rId43"/>
    <p:sldId id="345" r:id="rId44"/>
    <p:sldId id="346" r:id="rId45"/>
    <p:sldId id="347" r:id="rId46"/>
    <p:sldId id="348" r:id="rId47"/>
    <p:sldId id="349" r:id="rId48"/>
    <p:sldId id="354" r:id="rId49"/>
    <p:sldId id="355" r:id="rId50"/>
    <p:sldId id="350" r:id="rId51"/>
    <p:sldId id="313" r:id="rId52"/>
  </p:sldIdLst>
  <p:sldSz cx="12192000" cy="6858000"/>
  <p:notesSz cx="6797675" cy="9872663"/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750" userDrawn="1">
          <p15:clr>
            <a:srgbClr val="A4A3A4"/>
          </p15:clr>
        </p15:guide>
        <p15:guide id="2" orient="horz" pos="1389" userDrawn="1">
          <p15:clr>
            <a:srgbClr val="A4A3A4"/>
          </p15:clr>
        </p15:guide>
        <p15:guide id="3" orient="horz" pos="4065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  <p15:guide id="6" orient="horz" pos="981" userDrawn="1">
          <p15:clr>
            <a:srgbClr val="A4A3A4"/>
          </p15:clr>
        </p15:guide>
        <p15:guide id="7" orient="horz" pos="1752" userDrawn="1">
          <p15:clr>
            <a:srgbClr val="A4A3A4"/>
          </p15:clr>
        </p15:guide>
        <p15:guide id="8" orient="horz" pos="2069" userDrawn="1">
          <p15:clr>
            <a:srgbClr val="A4A3A4"/>
          </p15:clr>
        </p15:guide>
        <p15:guide id="11" pos="1708" userDrawn="1">
          <p15:clr>
            <a:srgbClr val="A4A3A4"/>
          </p15:clr>
        </p15:guide>
        <p15:guide id="12" pos="7197" userDrawn="1">
          <p15:clr>
            <a:srgbClr val="A4A3A4"/>
          </p15:clr>
        </p15:guide>
        <p15:guide id="13" pos="1965" userDrawn="1">
          <p15:clr>
            <a:srgbClr val="A4A3A4"/>
          </p15:clr>
        </p15:guide>
        <p15:guide id="14" pos="3840" userDrawn="1">
          <p15:clr>
            <a:srgbClr val="A4A3A4"/>
          </p15:clr>
        </p15:guide>
        <p15:guide id="15" orient="horz" pos="210" userDrawn="1">
          <p15:clr>
            <a:srgbClr val="A4A3A4"/>
          </p15:clr>
        </p15:guide>
        <p15:guide id="16" orient="horz" pos="482" userDrawn="1">
          <p15:clr>
            <a:srgbClr val="A4A3A4"/>
          </p15:clr>
        </p15:guide>
        <p15:guide id="17" pos="483" userDrawn="1">
          <p15:clr>
            <a:srgbClr val="A4A3A4"/>
          </p15:clr>
        </p15:guide>
        <p15:guide id="18" pos="6199" userDrawn="1">
          <p15:clr>
            <a:srgbClr val="A4A3A4"/>
          </p15:clr>
        </p15:guide>
        <p15:guide id="19" orient="horz" pos="618" userDrawn="1">
          <p15:clr>
            <a:srgbClr val="A4A3A4"/>
          </p15:clr>
        </p15:guide>
        <p15:guide id="20" pos="75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01">
          <p15:clr>
            <a:srgbClr val="A4A3A4"/>
          </p15:clr>
        </p15:guide>
        <p15:guide id="3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NCB-HOLDING / NMBS-HOLDING" initials="S/N" lastIdx="1" clrIdx="0"/>
  <p:cmAuthor id="1" name="SNCB-Holding / NMBS-Holding" initials="S/N" lastIdx="1" clrIdx="1"/>
  <p:cmAuthor id="2" name="Chevalier Sarah" initials="CS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CC"/>
    <a:srgbClr val="FFFFFF"/>
    <a:srgbClr val="0070C0"/>
    <a:srgbClr val="CFE4F8"/>
    <a:srgbClr val="FF3B3B"/>
    <a:srgbClr val="FF9900"/>
    <a:srgbClr val="3BC861"/>
    <a:srgbClr val="FF6600"/>
    <a:srgbClr val="FB8605"/>
    <a:srgbClr val="005D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070" autoAdjust="0"/>
    <p:restoredTop sz="92564" autoAdjust="0"/>
  </p:normalViewPr>
  <p:slideViewPr>
    <p:cSldViewPr>
      <p:cViewPr varScale="1">
        <p:scale>
          <a:sx n="108" d="100"/>
          <a:sy n="108" d="100"/>
        </p:scale>
        <p:origin x="1062" y="96"/>
      </p:cViewPr>
      <p:guideLst>
        <p:guide orient="horz" pos="2750"/>
        <p:guide orient="horz" pos="1389"/>
        <p:guide orient="horz" pos="4065"/>
        <p:guide orient="horz" pos="346"/>
        <p:guide orient="horz" pos="981"/>
        <p:guide orient="horz" pos="1752"/>
        <p:guide orient="horz" pos="2069"/>
        <p:guide pos="1708"/>
        <p:guide pos="7197"/>
        <p:guide pos="1965"/>
        <p:guide pos="3840"/>
        <p:guide orient="horz" pos="210"/>
        <p:guide orient="horz" pos="482"/>
        <p:guide pos="483"/>
        <p:guide pos="6199"/>
        <p:guide orient="horz" pos="618"/>
        <p:guide pos="7514"/>
      </p:guideLst>
    </p:cSldViewPr>
  </p:slideViewPr>
  <p:outlineViewPr>
    <p:cViewPr>
      <p:scale>
        <a:sx n="33" d="100"/>
        <a:sy n="33" d="100"/>
      </p:scale>
      <p:origin x="12" y="319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75" d="100"/>
          <a:sy n="75" d="100"/>
        </p:scale>
        <p:origin x="-2136" y="-246"/>
      </p:cViewPr>
      <p:guideLst>
        <p:guide orient="horz" pos="3110"/>
        <p:guide pos="2101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3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100716082051492E-2"/>
          <c:y val="9.700311076547051E-2"/>
          <c:w val="0.95189928391794854"/>
          <c:h val="0.8059937784690589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69DB-4642-9307-59430B92E4C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69DB-4642-9307-59430B92E4CA}"/>
              </c:ext>
            </c:extLst>
          </c:dPt>
          <c:cat>
            <c:strRef>
              <c:f>Sheet1!$A$2:$A$3</c:f>
              <c:strCache>
                <c:ptCount val="2"/>
                <c:pt idx="0">
                  <c:v>Vrouw</c:v>
                </c:pt>
                <c:pt idx="1">
                  <c:v>Man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0127944357077592</c:v>
                </c:pt>
                <c:pt idx="1">
                  <c:v>0.49872055642922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DB-4642-9307-59430B92E4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D2CBC9"/>
            </a:solidFill>
          </c:spPr>
          <c:invertIfNegative val="0"/>
          <c:cat>
            <c:strRef>
              <c:f>Sheet1!$A$2:$A$3</c:f>
              <c:strCache>
                <c:ptCount val="2"/>
                <c:pt idx="0">
                  <c:v>Vrouw</c:v>
                </c:pt>
                <c:pt idx="1">
                  <c:v>Man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49872055642922403</c:v>
                </c:pt>
                <c:pt idx="1">
                  <c:v>0.5012794435707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9DB-4642-9307-59430B92E4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63863040"/>
        <c:axId val="63864832"/>
      </c:barChart>
      <c:catAx>
        <c:axId val="6386304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63864832"/>
        <c:crosses val="autoZero"/>
        <c:auto val="1"/>
        <c:lblAlgn val="ctr"/>
        <c:lblOffset val="100"/>
        <c:noMultiLvlLbl val="0"/>
      </c:catAx>
      <c:valAx>
        <c:axId val="6386483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638630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71200131003497"/>
          <c:y val="0.13353677618516363"/>
          <c:w val="0.46971002009761698"/>
          <c:h val="0.770856281062311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Lbls>
            <c:dLbl>
              <c:idx val="0"/>
              <c:spPr>
                <a:ln>
                  <a:solidFill>
                    <a:schemeClr val="accent6"/>
                  </a:solidFill>
                </a:ln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A2D-E445-9D9E-4B35545D2CDE}"/>
                </c:ext>
              </c:extLst>
            </c:dLbl>
            <c:dLbl>
              <c:idx val="1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A2D-E445-9D9E-4B35545D2CDE}"/>
                </c:ext>
              </c:extLst>
            </c:dLbl>
            <c:dLbl>
              <c:idx val="2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5A2D-E445-9D9E-4B35545D2CDE}"/>
                </c:ext>
              </c:extLst>
            </c:dLbl>
            <c:dLbl>
              <c:idx val="3"/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A2D-E445-9D9E-4B35545D2CDE}"/>
                </c:ext>
              </c:extLst>
            </c:dLbl>
            <c:dLbl>
              <c:idx val="5"/>
              <c:spPr>
                <a:noFill/>
                <a:ln>
                  <a:solidFill>
                    <a:schemeClr val="accent6"/>
                  </a:solidFill>
                </a:ln>
                <a:effectLst/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5A2D-E445-9D9E-4B35545D2C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5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09</c:v>
                </c:pt>
                <c:pt idx="1">
                  <c:v>0.16</c:v>
                </c:pt>
                <c:pt idx="2">
                  <c:v>0.16</c:v>
                </c:pt>
                <c:pt idx="3">
                  <c:v>0.22</c:v>
                </c:pt>
                <c:pt idx="4">
                  <c:v>0.19</c:v>
                </c:pt>
                <c:pt idx="5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3DA-4262-8D6E-1DF8D0DC1B3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8196777304674316"/>
          <c:y val="7.4361250148073627E-2"/>
          <c:w val="0.31803222695325684"/>
          <c:h val="0.92223791851795545"/>
        </c:manualLayout>
      </c:layout>
      <c:overlay val="0"/>
      <c:txPr>
        <a:bodyPr/>
        <a:lstStyle/>
        <a:p>
          <a:pPr>
            <a:defRPr sz="1050">
              <a:latin typeface="Calibri" panose="020F0502020204030204" pitchFamily="34" charset="0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fr-F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71200131003497"/>
          <c:y val="0.13353677618516363"/>
          <c:w val="0.46971002009761698"/>
          <c:h val="0.770856281062311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Lbls>
            <c:dLbl>
              <c:idx val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2CF-384A-91E1-BC879B685131}"/>
                </c:ext>
              </c:extLst>
            </c:dLbl>
            <c:dLbl>
              <c:idx val="1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02CF-384A-91E1-BC879B685131}"/>
                </c:ext>
              </c:extLst>
            </c:dLbl>
            <c:dLbl>
              <c:idx val="2"/>
              <c:spPr>
                <a:ln>
                  <a:solidFill>
                    <a:srgbClr val="00B050"/>
                  </a:solidFill>
                </a:ln>
              </c:spPr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02CF-384A-91E1-BC879B6851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5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3829539881708008</c:v>
                </c:pt>
                <c:pt idx="1">
                  <c:v>0.15822596149265988</c:v>
                </c:pt>
                <c:pt idx="2">
                  <c:v>0.19862641380009433</c:v>
                </c:pt>
                <c:pt idx="3">
                  <c:v>0.17821858746896838</c:v>
                </c:pt>
                <c:pt idx="4">
                  <c:v>0.13586266312707276</c:v>
                </c:pt>
                <c:pt idx="5">
                  <c:v>0.1907709752941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555-45DF-A007-DF182E46DCB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8196777304674316"/>
          <c:y val="7.4361250148073627E-2"/>
          <c:w val="0.31803222695325684"/>
          <c:h val="0.92223791851795545"/>
        </c:manualLayout>
      </c:layout>
      <c:overlay val="0"/>
      <c:txPr>
        <a:bodyPr/>
        <a:lstStyle/>
        <a:p>
          <a:pPr>
            <a:defRPr sz="1050">
              <a:latin typeface="Calibri" panose="020F0502020204030204" pitchFamily="34" charset="0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fr-F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297-424D-A943-D66C86F4788D}"/>
              </c:ext>
            </c:extLst>
          </c:dPt>
          <c:dLbls>
            <c:dLbl>
              <c:idx val="0"/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1D5F-2242-A5D4-2C95173048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Werknemer</c:v>
                </c:pt>
                <c:pt idx="1">
                  <c:v>Gepensioneerd</c:v>
                </c:pt>
                <c:pt idx="2">
                  <c:v>Arbeider</c:v>
                </c:pt>
                <c:pt idx="3">
                  <c:v>Student</c:v>
                </c:pt>
                <c:pt idx="4">
                  <c:v>Huisvrouw/man</c:v>
                </c:pt>
                <c:pt idx="5">
                  <c:v>Werkzoekend</c:v>
                </c:pt>
                <c:pt idx="6">
                  <c:v>Zelfstandige</c:v>
                </c:pt>
                <c:pt idx="7">
                  <c:v>Andere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34</c:v>
                </c:pt>
                <c:pt idx="1">
                  <c:v>0.32</c:v>
                </c:pt>
                <c:pt idx="2">
                  <c:v>0.1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4</c:v>
                </c:pt>
                <c:pt idx="6">
                  <c:v>0.03</c:v>
                </c:pt>
                <c:pt idx="7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297-424D-A943-D66C86F478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2357120"/>
        <c:axId val="140337920"/>
      </c:barChart>
      <c:catAx>
        <c:axId val="1323571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r-FR"/>
          </a:p>
        </c:txPr>
        <c:crossAx val="140337920"/>
        <c:crosses val="autoZero"/>
        <c:auto val="1"/>
        <c:lblAlgn val="ctr"/>
        <c:lblOffset val="100"/>
        <c:noMultiLvlLbl val="0"/>
      </c:catAx>
      <c:valAx>
        <c:axId val="140337920"/>
        <c:scaling>
          <c:orientation val="minMax"/>
          <c:max val="0.60000000000000009"/>
        </c:scaling>
        <c:delete val="1"/>
        <c:axPos val="t"/>
        <c:numFmt formatCode="0%" sourceLinked="1"/>
        <c:majorTickMark val="out"/>
        <c:minorTickMark val="none"/>
        <c:tickLblPos val="nextTo"/>
        <c:crossAx val="132357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71200131003497"/>
          <c:y val="0.13353677618516363"/>
          <c:w val="0.46971002009761698"/>
          <c:h val="0.770856281062311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Lbls>
            <c:dLbl>
              <c:idx val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CD4-6B4D-A5B1-D742B67E0B08}"/>
                </c:ext>
              </c:extLst>
            </c:dLbl>
            <c:dLbl>
              <c:idx val="1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BCD4-6B4D-A5B1-D742B67E0B08}"/>
                </c:ext>
              </c:extLst>
            </c:dLbl>
            <c:dLbl>
              <c:idx val="2"/>
              <c:spPr>
                <a:ln>
                  <a:solidFill>
                    <a:schemeClr val="accent6"/>
                  </a:solidFill>
                </a:ln>
              </c:spPr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BCD4-6B4D-A5B1-D742B67E0B08}"/>
                </c:ext>
              </c:extLst>
            </c:dLbl>
            <c:dLbl>
              <c:idx val="5"/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BCD4-6B4D-A5B1-D742B67E0B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bg1"/>
                    </a:solidFill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5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1</c:v>
                </c:pt>
                <c:pt idx="1">
                  <c:v>0.13</c:v>
                </c:pt>
                <c:pt idx="2">
                  <c:v>0.12</c:v>
                </c:pt>
                <c:pt idx="3">
                  <c:v>0.15</c:v>
                </c:pt>
                <c:pt idx="4">
                  <c:v>0.16</c:v>
                </c:pt>
                <c:pt idx="5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ECF-4BB1-8D21-4DD63534E93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8196777304674316"/>
          <c:y val="7.4361250148073627E-2"/>
          <c:w val="0.31803222695325684"/>
          <c:h val="0.92223791851795545"/>
        </c:manualLayout>
      </c:layout>
      <c:overlay val="0"/>
      <c:txPr>
        <a:bodyPr/>
        <a:lstStyle/>
        <a:p>
          <a:pPr>
            <a:defRPr sz="1000">
              <a:latin typeface="Calibri" panose="020F0502020204030204" pitchFamily="34" charset="0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fr-FR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7D-4469-9799-C14208AADF46}"/>
              </c:ext>
            </c:extLst>
          </c:dPt>
          <c:dPt>
            <c:idx val="1"/>
            <c:bubble3D val="0"/>
            <c:spPr>
              <a:solidFill>
                <a:srgbClr val="FF66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7D-4469-9799-C14208AADF4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27D-4469-9799-C14208AADF4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27D-4469-9799-C14208AADF46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5</c:v>
                </c:pt>
                <c:pt idx="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27D-4469-9799-C14208AADF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7B5-47F3-87D3-AF9B1EF3DEF2}"/>
              </c:ext>
            </c:extLst>
          </c:dPt>
          <c:dPt>
            <c:idx val="1"/>
            <c:bubble3D val="0"/>
            <c:spPr>
              <a:solidFill>
                <a:srgbClr val="FF66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B5-47F3-87D3-AF9B1EF3DEF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7B5-47F3-87D3-AF9B1EF3DEF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7B5-47F3-87D3-AF9B1EF3DEF2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3</c:v>
                </c:pt>
                <c:pt idx="1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7B5-47F3-87D3-AF9B1EF3DE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71200131003497"/>
          <c:y val="0.13353677618516363"/>
          <c:w val="0.46971002009761698"/>
          <c:h val="0.770856281062311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Lbls>
            <c:dLbl>
              <c:idx val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42A-1B47-997D-D6F1662A7A1F}"/>
                </c:ext>
              </c:extLst>
            </c:dLbl>
            <c:dLbl>
              <c:idx val="1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42A-1B47-997D-D6F1662A7A1F}"/>
                </c:ext>
              </c:extLst>
            </c:dLbl>
            <c:dLbl>
              <c:idx val="2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42A-1B47-997D-D6F1662A7A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bg1"/>
                    </a:solidFill>
                    <a:latin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5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319999999999768</c:v>
                </c:pt>
                <c:pt idx="1">
                  <c:v>0.157</c:v>
                </c:pt>
                <c:pt idx="2">
                  <c:v>0.16299999999999826</c:v>
                </c:pt>
                <c:pt idx="3">
                  <c:v>0.1770000000000114</c:v>
                </c:pt>
                <c:pt idx="4">
                  <c:v>0.15300000000000205</c:v>
                </c:pt>
                <c:pt idx="5">
                  <c:v>0.21800000000001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8EC-4E07-BA78-3B4CC17F1CD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74829714307876527"/>
          <c:y val="7.4361250148073627E-2"/>
          <c:w val="0.24880537415988352"/>
          <c:h val="0.92223791851795545"/>
        </c:manualLayout>
      </c:layout>
      <c:overlay val="0"/>
      <c:txPr>
        <a:bodyPr/>
        <a:lstStyle/>
        <a:p>
          <a:pPr>
            <a:defRPr sz="1400">
              <a:latin typeface="Calibri" panose="020F0502020204030204" pitchFamily="34" charset="0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DE-4361-89FF-6C6B9B17FCB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Werknemer</c:v>
                </c:pt>
                <c:pt idx="1">
                  <c:v>Gepensioneerd</c:v>
                </c:pt>
                <c:pt idx="2">
                  <c:v>Arbeider</c:v>
                </c:pt>
                <c:pt idx="3">
                  <c:v>Student</c:v>
                </c:pt>
                <c:pt idx="4">
                  <c:v>Huisvrouw/man</c:v>
                </c:pt>
                <c:pt idx="5">
                  <c:v>Werkloos</c:v>
                </c:pt>
                <c:pt idx="6">
                  <c:v>Zelfstandige</c:v>
                </c:pt>
                <c:pt idx="7">
                  <c:v>Andere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37113509114194154</c:v>
                </c:pt>
                <c:pt idx="1">
                  <c:v>0.26253033886062355</c:v>
                </c:pt>
                <c:pt idx="2">
                  <c:v>9.7589283759761572E-2</c:v>
                </c:pt>
                <c:pt idx="3">
                  <c:v>8.8993078466848063E-2</c:v>
                </c:pt>
                <c:pt idx="4">
                  <c:v>5.5159404070690227E-2</c:v>
                </c:pt>
                <c:pt idx="5">
                  <c:v>4.5328317177080836E-2</c:v>
                </c:pt>
                <c:pt idx="6">
                  <c:v>2.9965918315516524E-2</c:v>
                </c:pt>
                <c:pt idx="7">
                  <c:v>4.929856820753764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DE-4361-89FF-6C6B9B17FC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4188416"/>
        <c:axId val="64189952"/>
      </c:barChart>
      <c:catAx>
        <c:axId val="641884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fr-FR"/>
          </a:p>
        </c:txPr>
        <c:crossAx val="64189952"/>
        <c:crosses val="autoZero"/>
        <c:auto val="1"/>
        <c:lblAlgn val="ctr"/>
        <c:lblOffset val="100"/>
        <c:noMultiLvlLbl val="0"/>
      </c:catAx>
      <c:valAx>
        <c:axId val="64189952"/>
        <c:scaling>
          <c:orientation val="minMax"/>
          <c:max val="0.60000000000000009"/>
        </c:scaling>
        <c:delete val="1"/>
        <c:axPos val="t"/>
        <c:numFmt formatCode="0%" sourceLinked="1"/>
        <c:majorTickMark val="out"/>
        <c:minorTickMark val="none"/>
        <c:tickLblPos val="nextTo"/>
        <c:crossAx val="64188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032909905828791E-2"/>
          <c:y val="3.0972663304066256E-2"/>
          <c:w val="0.96468510505187421"/>
          <c:h val="0.600026787220756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Lbl>
              <c:idx val="3"/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050" b="0"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A50-6043-B253-CF813CA2D5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0">
                    <a:latin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ociale klasse 1-2</c:v>
                </c:pt>
                <c:pt idx="1">
                  <c:v>Sociale klasse 3-4</c:v>
                </c:pt>
                <c:pt idx="2">
                  <c:v>Sociale klasse 5-6</c:v>
                </c:pt>
                <c:pt idx="3">
                  <c:v>Sociale klasse 7-8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6728632619129</c:v>
                </c:pt>
                <c:pt idx="1">
                  <c:v>0.15088796405175164</c:v>
                </c:pt>
                <c:pt idx="2">
                  <c:v>0.19135384996188415</c:v>
                </c:pt>
                <c:pt idx="3">
                  <c:v>0.390471859795074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1C-484E-ACEE-BDCDC646D4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59185792"/>
        <c:axId val="59191680"/>
      </c:barChart>
      <c:catAx>
        <c:axId val="591857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100">
                <a:latin typeface="Calibri" panose="020F0502020204030204" pitchFamily="34" charset="0"/>
              </a:defRPr>
            </a:pPr>
            <a:endParaRPr lang="fr-FR"/>
          </a:p>
        </c:txPr>
        <c:crossAx val="59191680"/>
        <c:crosses val="autoZero"/>
        <c:auto val="1"/>
        <c:lblAlgn val="ctr"/>
        <c:lblOffset val="100"/>
        <c:noMultiLvlLbl val="0"/>
      </c:catAx>
      <c:valAx>
        <c:axId val="59191680"/>
        <c:scaling>
          <c:orientation val="minMax"/>
          <c:max val="0.5"/>
        </c:scaling>
        <c:delete val="1"/>
        <c:axPos val="l"/>
        <c:numFmt formatCode="0%" sourceLinked="1"/>
        <c:majorTickMark val="out"/>
        <c:minorTickMark val="none"/>
        <c:tickLblPos val="nextTo"/>
        <c:crossAx val="591857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71200131003497"/>
          <c:y val="0.13353677618516363"/>
          <c:w val="0.46971002009761698"/>
          <c:h val="0.770856281062311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Lbls>
            <c:dLbl>
              <c:idx val="0"/>
              <c:spPr>
                <a:ln>
                  <a:solidFill>
                    <a:srgbClr val="00B050"/>
                  </a:solidFill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C8C3-1847-9D35-DBE2AA59A170}"/>
                </c:ext>
              </c:extLst>
            </c:dLbl>
            <c:dLbl>
              <c:idx val="1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C8C3-1847-9D35-DBE2AA59A170}"/>
                </c:ext>
              </c:extLst>
            </c:dLbl>
            <c:dLbl>
              <c:idx val="2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8C3-1847-9D35-DBE2AA59A170}"/>
                </c:ext>
              </c:extLst>
            </c:dLbl>
            <c:dLbl>
              <c:idx val="3"/>
              <c:spPr>
                <a:noFill/>
                <a:ln>
                  <a:solidFill>
                    <a:srgbClr val="FF0000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8C3-1847-9D35-DBE2AA59A1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  <a:latin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5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2494614361528292</c:v>
                </c:pt>
                <c:pt idx="1">
                  <c:v>0.15927565031700364</c:v>
                </c:pt>
                <c:pt idx="2">
                  <c:v>0.13782642204099074</c:v>
                </c:pt>
                <c:pt idx="3">
                  <c:v>9.1037070379112989E-2</c:v>
                </c:pt>
                <c:pt idx="4">
                  <c:v>0.13602458958241456</c:v>
                </c:pt>
                <c:pt idx="5">
                  <c:v>0.250890124065194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44-40EF-96FB-708739071E8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8196777304674316"/>
          <c:y val="7.4361250148073627E-2"/>
          <c:w val="0.31803222695325684"/>
          <c:h val="0.92223791851795545"/>
        </c:manualLayout>
      </c:layout>
      <c:overlay val="0"/>
      <c:txPr>
        <a:bodyPr/>
        <a:lstStyle/>
        <a:p>
          <a:pPr>
            <a:defRPr sz="1050">
              <a:latin typeface="Calibri" panose="020F0502020204030204" pitchFamily="34" charset="0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fr-F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71200131003497"/>
          <c:y val="0.13353677618516363"/>
          <c:w val="0.46971002009761698"/>
          <c:h val="0.770856281062311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Lbls>
            <c:dLbl>
              <c:idx val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7309-654D-AA68-C9CFD1E48C27}"/>
                </c:ext>
              </c:extLst>
            </c:dLbl>
            <c:dLbl>
              <c:idx val="1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309-654D-AA68-C9CFD1E48C27}"/>
                </c:ext>
              </c:extLst>
            </c:dLbl>
            <c:dLbl>
              <c:idx val="2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7309-654D-AA68-C9CFD1E48C27}"/>
                </c:ext>
              </c:extLst>
            </c:dLbl>
            <c:dLbl>
              <c:idx val="5"/>
              <c:spPr>
                <a:noFill/>
                <a:ln>
                  <a:solidFill>
                    <a:schemeClr val="accent6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309-654D-AA68-C9CFD1E48C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5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4000000000000001</c:v>
                </c:pt>
                <c:pt idx="1">
                  <c:v>0.18</c:v>
                </c:pt>
                <c:pt idx="2">
                  <c:v>0.18</c:v>
                </c:pt>
                <c:pt idx="3">
                  <c:v>0.21</c:v>
                </c:pt>
                <c:pt idx="4">
                  <c:v>0.14000000000000001</c:v>
                </c:pt>
                <c:pt idx="5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371-437D-A58D-6204E4C2ADD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8196777304674316"/>
          <c:y val="7.4361250148073627E-2"/>
          <c:w val="0.31803222695325684"/>
          <c:h val="0.92223791851795545"/>
        </c:manualLayout>
      </c:layout>
      <c:overlay val="0"/>
      <c:txPr>
        <a:bodyPr/>
        <a:lstStyle/>
        <a:p>
          <a:pPr>
            <a:defRPr sz="1100">
              <a:latin typeface="Calibri" panose="020F0502020204030204" pitchFamily="34" charset="0"/>
              <a:cs typeface="Calibri" panose="020F0502020204030204" pitchFamily="34" charset="0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fr-F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A85-4E39-AA31-DE26E430CF49}"/>
              </c:ext>
            </c:extLst>
          </c:dPt>
          <c:dLbls>
            <c:dLbl>
              <c:idx val="1"/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A46-794E-9778-0F2D1C4B8665}"/>
                </c:ext>
              </c:extLst>
            </c:dLbl>
            <c:dLbl>
              <c:idx val="3"/>
              <c:spPr>
                <a:noFill/>
                <a:ln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6A46-794E-9778-0F2D1C4B8665}"/>
                </c:ext>
              </c:extLst>
            </c:dLbl>
            <c:dLbl>
              <c:idx val="5"/>
              <c:spPr>
                <a:noFill/>
                <a:ln>
                  <a:solidFill>
                    <a:srgbClr val="FF0000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A46-794E-9778-0F2D1C4B86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Werknemer</c:v>
                </c:pt>
                <c:pt idx="1">
                  <c:v>Gepensioneerd</c:v>
                </c:pt>
                <c:pt idx="2">
                  <c:v>Arbeider</c:v>
                </c:pt>
                <c:pt idx="3">
                  <c:v>Student</c:v>
                </c:pt>
                <c:pt idx="4">
                  <c:v>Huisvrouw/man</c:v>
                </c:pt>
                <c:pt idx="5">
                  <c:v>Werkzoekend</c:v>
                </c:pt>
                <c:pt idx="6">
                  <c:v>Zelfstandige</c:v>
                </c:pt>
                <c:pt idx="7">
                  <c:v>Andere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36509999999999998</c:v>
                </c:pt>
                <c:pt idx="1">
                  <c:v>0.31219999999999998</c:v>
                </c:pt>
                <c:pt idx="2">
                  <c:v>9.3399999999999997E-2</c:v>
                </c:pt>
                <c:pt idx="3">
                  <c:v>6.6400000000000001E-2</c:v>
                </c:pt>
                <c:pt idx="4">
                  <c:v>6.2399999999999997E-2</c:v>
                </c:pt>
                <c:pt idx="5">
                  <c:v>2.6499999999999999E-2</c:v>
                </c:pt>
                <c:pt idx="6">
                  <c:v>2.1700000000000001E-2</c:v>
                </c:pt>
                <c:pt idx="7">
                  <c:v>5.22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A85-4E39-AA31-DE26E430C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26420864"/>
        <c:axId val="126422400"/>
      </c:barChart>
      <c:catAx>
        <c:axId val="1264208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fr-FR"/>
          </a:p>
        </c:txPr>
        <c:crossAx val="126422400"/>
        <c:crosses val="autoZero"/>
        <c:auto val="1"/>
        <c:lblAlgn val="ctr"/>
        <c:lblOffset val="100"/>
        <c:noMultiLvlLbl val="0"/>
      </c:catAx>
      <c:valAx>
        <c:axId val="126422400"/>
        <c:scaling>
          <c:orientation val="minMax"/>
          <c:max val="0.60000000000000009"/>
        </c:scaling>
        <c:delete val="1"/>
        <c:axPos val="t"/>
        <c:numFmt formatCode="0%" sourceLinked="1"/>
        <c:majorTickMark val="out"/>
        <c:minorTickMark val="none"/>
        <c:tickLblPos val="nextTo"/>
        <c:crossAx val="126420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71200131003497"/>
          <c:y val="0.13353677618516363"/>
          <c:w val="0.46971002009761698"/>
          <c:h val="0.770856281062311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Lbls>
            <c:dLbl>
              <c:idx val="0"/>
              <c:spPr>
                <a:ln>
                  <a:solidFill>
                    <a:schemeClr val="accent6"/>
                  </a:solidFill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4449-E84F-B41E-FD115BBC1CCC}"/>
                </c:ext>
              </c:extLst>
            </c:dLbl>
            <c:dLbl>
              <c:idx val="1"/>
              <c:spPr>
                <a:ln>
                  <a:solidFill>
                    <a:schemeClr val="accent6"/>
                  </a:solidFill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449-E84F-B41E-FD115BBC1CCC}"/>
                </c:ext>
              </c:extLst>
            </c:dLbl>
            <c:dLbl>
              <c:idx val="2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449-E84F-B41E-FD115BBC1CCC}"/>
                </c:ext>
              </c:extLst>
            </c:dLbl>
            <c:dLbl>
              <c:idx val="4"/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449-E84F-B41E-FD115BBC1CCC}"/>
                </c:ext>
              </c:extLst>
            </c:dLbl>
            <c:dLbl>
              <c:idx val="5"/>
              <c:spPr>
                <a:noFill/>
                <a:ln>
                  <a:solidFill>
                    <a:srgbClr val="00B050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449-E84F-B41E-FD115BBC1C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5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09</c:v>
                </c:pt>
                <c:pt idx="1">
                  <c:v>0.13</c:v>
                </c:pt>
                <c:pt idx="2">
                  <c:v>0.16</c:v>
                </c:pt>
                <c:pt idx="3">
                  <c:v>0.18</c:v>
                </c:pt>
                <c:pt idx="4">
                  <c:v>0.18</c:v>
                </c:pt>
                <c:pt idx="5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79F-4629-B607-F6D1818CA67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8196777304674316"/>
          <c:y val="7.4361250148073627E-2"/>
          <c:w val="0.31803222695325684"/>
          <c:h val="0.92223791851795545"/>
        </c:manualLayout>
      </c:layout>
      <c:overlay val="0"/>
      <c:txPr>
        <a:bodyPr/>
        <a:lstStyle/>
        <a:p>
          <a:pPr>
            <a:defRPr sz="1000">
              <a:latin typeface="Calibri" panose="020F0502020204030204" pitchFamily="34" charset="0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fr-F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771200131003497"/>
          <c:y val="0.13353677618516363"/>
          <c:w val="0.46971002009761698"/>
          <c:h val="0.7708562810623111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Lbls>
            <c:dLbl>
              <c:idx val="0"/>
              <c:spPr>
                <a:ln>
                  <a:solidFill>
                    <a:srgbClr val="00B050"/>
                  </a:solidFill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FDC-7048-8CED-EB93F59217DE}"/>
                </c:ext>
              </c:extLst>
            </c:dLbl>
            <c:dLbl>
              <c:idx val="1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FDC-7048-8CED-EB93F59217DE}"/>
                </c:ext>
              </c:extLst>
            </c:dLbl>
            <c:dLbl>
              <c:idx val="2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9FDC-7048-8CED-EB93F59217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  <a:latin typeface="Calibri" panose="020F0502020204030204" pitchFamily="34" charset="0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15-24</c:v>
                </c:pt>
                <c:pt idx="1">
                  <c:v>25-34</c:v>
                </c:pt>
                <c:pt idx="2">
                  <c:v>35-44</c:v>
                </c:pt>
                <c:pt idx="3">
                  <c:v>45-54</c:v>
                </c:pt>
                <c:pt idx="4">
                  <c:v>55-64</c:v>
                </c:pt>
                <c:pt idx="5">
                  <c:v>65+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9874996562009353</c:v>
                </c:pt>
                <c:pt idx="1">
                  <c:v>0.1797163829123265</c:v>
                </c:pt>
                <c:pt idx="2">
                  <c:v>0.15543603821305105</c:v>
                </c:pt>
                <c:pt idx="3">
                  <c:v>0.14533678079657192</c:v>
                </c:pt>
                <c:pt idx="4">
                  <c:v>0.1249212071463795</c:v>
                </c:pt>
                <c:pt idx="5">
                  <c:v>0.195839625311577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245-4095-A830-893729442B5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8196777304674316"/>
          <c:y val="7.4361250148073627E-2"/>
          <c:w val="0.31803222695325684"/>
          <c:h val="0.92223791851795545"/>
        </c:manualLayout>
      </c:layout>
      <c:overlay val="0"/>
      <c:txPr>
        <a:bodyPr/>
        <a:lstStyle/>
        <a:p>
          <a:pPr>
            <a:defRPr sz="1050">
              <a:latin typeface="Calibri" panose="020F0502020204030204" pitchFamily="34" charset="0"/>
            </a:defRPr>
          </a:pPr>
          <a:endParaRPr lang="fr-FR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fr-F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FA8D2A-D866-483D-AC6F-FA7D3D513D38}" type="doc">
      <dgm:prSet loTypeId="urn:microsoft.com/office/officeart/2005/8/layout/hierarchy6" loCatId="hierarchy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n-GB"/>
        </a:p>
      </dgm:t>
    </dgm:pt>
    <dgm:pt modelId="{AD82A0C2-ACB8-4342-8374-9B402A417C3F}">
      <dgm:prSet phldrT="[Text]" custT="1"/>
      <dgm:spPr>
        <a:solidFill>
          <a:srgbClr val="0070C0"/>
        </a:solidFill>
        <a:ln>
          <a:noFill/>
        </a:ln>
      </dgm:spPr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nl-BE" sz="1800" b="0" dirty="0">
              <a:latin typeface="Calibri" panose="020F0502020204030204" pitchFamily="34" charset="0"/>
            </a:rPr>
            <a:t>Gedragswijziging tot stand brengen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nl-BE" sz="1800" b="0" dirty="0">
              <a:latin typeface="Calibri" panose="020F0502020204030204" pitchFamily="34" charset="0"/>
            </a:rPr>
            <a:t>- Minder spoorlopen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nl-BE" sz="1800" b="0" dirty="0">
              <a:latin typeface="Calibri" panose="020F0502020204030204" pitchFamily="34" charset="0"/>
            </a:rPr>
            <a:t>- Minder ongevallen aan overwegen</a:t>
          </a:r>
          <a:endParaRPr lang="fr-BE" sz="1800" b="0" dirty="0">
            <a:latin typeface="Calibri" panose="020F0502020204030204" pitchFamily="34" charset="0"/>
          </a:endParaRPr>
        </a:p>
      </dgm:t>
    </dgm:pt>
    <dgm:pt modelId="{9E3BF4F1-5068-4C8D-8422-808C2872826D}" type="parTrans" cxnId="{BF3C6DF3-DC47-4E7E-BF7C-1EF846A890AB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93DC6D83-F199-48F0-8045-B5C4AE2A0CE4}" type="sibTrans" cxnId="{BF3C6DF3-DC47-4E7E-BF7C-1EF846A890AB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B97EBB36-E3C2-483D-BA4D-641B6B139F14}">
      <dgm:prSet phldrT="[Text]" custT="1"/>
      <dgm:spPr>
        <a:ln>
          <a:noFill/>
        </a:ln>
      </dgm:spPr>
      <dgm:t>
        <a:bodyPr/>
        <a:lstStyle/>
        <a:p>
          <a:r>
            <a:rPr lang="fr-BE" sz="1800" b="0" dirty="0" err="1">
              <a:latin typeface="Calibri" panose="020F0502020204030204" pitchFamily="34" charset="0"/>
            </a:rPr>
            <a:t>Sensibilisering</a:t>
          </a:r>
          <a:endParaRPr lang="fr-BE" sz="1800" b="0" dirty="0">
            <a:latin typeface="Calibri" panose="020F0502020204030204" pitchFamily="34" charset="0"/>
          </a:endParaRPr>
        </a:p>
      </dgm:t>
    </dgm:pt>
    <dgm:pt modelId="{1348F43A-576A-473D-AF12-D7B23793B1A7}" type="parTrans" cxnId="{CD0E6240-581A-469E-AB65-8441B34E6399}">
      <dgm:prSet/>
      <dgm:spPr>
        <a:ln>
          <a:solidFill>
            <a:srgbClr val="0070C0"/>
          </a:solidFill>
        </a:ln>
      </dgm:spPr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98C76137-B780-424D-BE9B-8DC4FA266002}" type="sibTrans" cxnId="{CD0E6240-581A-469E-AB65-8441B34E6399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85FCE61D-0DE0-4126-A8A2-9C9148D85ACC}">
      <dgm:prSet phldrT="[Text]" custT="1"/>
      <dgm:spPr>
        <a:ln>
          <a:noFill/>
        </a:ln>
      </dgm:spPr>
      <dgm:t>
        <a:bodyPr/>
        <a:lstStyle/>
        <a:p>
          <a:r>
            <a:rPr lang="fr-BE" sz="1600" dirty="0">
              <a:latin typeface="Calibri" panose="020F0502020204030204" pitchFamily="34" charset="0"/>
            </a:rPr>
            <a:t>Campagnes</a:t>
          </a:r>
        </a:p>
      </dgm:t>
    </dgm:pt>
    <dgm:pt modelId="{523BAC0C-B301-4A72-AB7D-52B83D9E160E}" type="parTrans" cxnId="{0B98D0FA-389E-4F46-AAC3-5F12A81133D5}">
      <dgm:prSet/>
      <dgm:spPr>
        <a:ln>
          <a:solidFill>
            <a:srgbClr val="0070C0"/>
          </a:solidFill>
        </a:ln>
      </dgm:spPr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C92C1062-1180-499A-BE51-EEDDA52C65D1}" type="sibTrans" cxnId="{0B98D0FA-389E-4F46-AAC3-5F12A81133D5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C6B5C754-958D-41A9-AB27-47204393DE7D}">
      <dgm:prSet phldrT="[Text]" custT="1"/>
      <dgm:spPr>
        <a:ln>
          <a:noFill/>
        </a:ln>
      </dgm:spPr>
      <dgm:t>
        <a:bodyPr/>
        <a:lstStyle/>
        <a:p>
          <a:r>
            <a:rPr lang="fr-BE" sz="1600" dirty="0" err="1">
              <a:latin typeface="Calibri" panose="020F0502020204030204" pitchFamily="34" charset="0"/>
            </a:rPr>
            <a:t>Acties</a:t>
          </a:r>
          <a:r>
            <a:rPr lang="fr-BE" sz="1600" dirty="0">
              <a:latin typeface="Calibri" panose="020F0502020204030204" pitchFamily="34" charset="0"/>
            </a:rPr>
            <a:t> </a:t>
          </a:r>
          <a:br>
            <a:rPr lang="fr-BE" sz="1600" dirty="0">
              <a:latin typeface="Calibri" panose="020F0502020204030204" pitchFamily="34" charset="0"/>
            </a:rPr>
          </a:br>
          <a:r>
            <a:rPr lang="fr-BE" sz="1600" dirty="0">
              <a:latin typeface="Calibri" panose="020F0502020204030204" pitchFamily="34" charset="0"/>
            </a:rPr>
            <a:t>op het </a:t>
          </a:r>
          <a:r>
            <a:rPr lang="fr-BE" sz="1600" dirty="0" err="1">
              <a:latin typeface="Calibri" panose="020F0502020204030204" pitchFamily="34" charset="0"/>
            </a:rPr>
            <a:t>terrein</a:t>
          </a:r>
          <a:r>
            <a:rPr lang="fr-BE" sz="1600" dirty="0">
              <a:latin typeface="Calibri" panose="020F0502020204030204" pitchFamily="34" charset="0"/>
            </a:rPr>
            <a:t>/PR</a:t>
          </a:r>
          <a:endParaRPr lang="fr-BE" sz="1200" dirty="0">
            <a:latin typeface="Calibri" panose="020F0502020204030204" pitchFamily="34" charset="0"/>
          </a:endParaRPr>
        </a:p>
      </dgm:t>
    </dgm:pt>
    <dgm:pt modelId="{14907EC4-E76D-4D5A-B99A-4D9AB0347F58}" type="parTrans" cxnId="{05B7DC98-464C-4B14-BB77-224558E6A8C7}">
      <dgm:prSet/>
      <dgm:spPr>
        <a:ln>
          <a:solidFill>
            <a:srgbClr val="0070C0"/>
          </a:solidFill>
        </a:ln>
      </dgm:spPr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50FCC875-09C6-4F72-9EDA-1475A38B446A}" type="sibTrans" cxnId="{05B7DC98-464C-4B14-BB77-224558E6A8C7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CB14C324-6E86-4A30-A260-78A42F0CAC3D}">
      <dgm:prSet phldrT="[Text]" custT="1"/>
      <dgm:spPr>
        <a:ln>
          <a:noFill/>
        </a:ln>
      </dgm:spPr>
      <dgm:t>
        <a:bodyPr/>
        <a:lstStyle/>
        <a:p>
          <a:r>
            <a:rPr lang="fr-BE" sz="1800" b="0" dirty="0" err="1">
              <a:latin typeface="Calibri" panose="020F0502020204030204" pitchFamily="34" charset="0"/>
            </a:rPr>
            <a:t>Preventie</a:t>
          </a:r>
          <a:endParaRPr lang="fr-BE" sz="1800" b="0" dirty="0">
            <a:latin typeface="Calibri" panose="020F0502020204030204" pitchFamily="34" charset="0"/>
          </a:endParaRPr>
        </a:p>
      </dgm:t>
    </dgm:pt>
    <dgm:pt modelId="{11A5C231-CCA6-4060-9313-82FB5A6B816F}" type="parTrans" cxnId="{825BF1F5-FB83-49DF-BD2C-9788EFD82D0B}">
      <dgm:prSet/>
      <dgm:spPr>
        <a:ln>
          <a:solidFill>
            <a:srgbClr val="0070C0"/>
          </a:solidFill>
        </a:ln>
      </dgm:spPr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74F5A511-4E7C-4EC9-BEFB-E3FCEAEB2810}" type="sibTrans" cxnId="{825BF1F5-FB83-49DF-BD2C-9788EFD82D0B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185F5F28-68A2-409E-A8A9-B934F4B173B6}">
      <dgm:prSet phldrT="[Text]" custT="1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fr-BE" sz="2000" dirty="0">
              <a:solidFill>
                <a:schemeClr val="bg1"/>
              </a:solidFill>
              <a:latin typeface="Calibri" panose="020F0502020204030204" pitchFamily="34" charset="0"/>
            </a:rPr>
            <a:t>Globale </a:t>
          </a:r>
          <a:r>
            <a:rPr lang="fr-BE" sz="2000" dirty="0" err="1">
              <a:solidFill>
                <a:schemeClr val="bg1"/>
              </a:solidFill>
              <a:latin typeface="Calibri" panose="020F0502020204030204" pitchFamily="34" charset="0"/>
            </a:rPr>
            <a:t>doelstelling</a:t>
          </a:r>
          <a:endParaRPr lang="fr-BE" sz="2000" dirty="0">
            <a:solidFill>
              <a:schemeClr val="bg1"/>
            </a:solidFill>
            <a:latin typeface="Calibri" panose="020F0502020204030204" pitchFamily="34" charset="0"/>
          </a:endParaRPr>
        </a:p>
      </dgm:t>
    </dgm:pt>
    <dgm:pt modelId="{8FEC9B73-5311-45C2-A8F6-7DBF14C25E55}" type="parTrans" cxnId="{0D722E93-B09B-4B23-A659-EB74A4D88B77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3F313D1D-6AC9-4D2B-88A4-4218DE5EC57E}" type="sibTrans" cxnId="{0D722E93-B09B-4B23-A659-EB74A4D88B77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EA95D8E6-3372-4CF5-9392-2E4E91078B0C}">
      <dgm:prSet phldrT="[Text]" custT="1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fr-BE" sz="2000" dirty="0" err="1">
              <a:solidFill>
                <a:schemeClr val="bg1"/>
              </a:solidFill>
              <a:latin typeface="Calibri" panose="020F0502020204030204" pitchFamily="34" charset="0"/>
            </a:rPr>
            <a:t>Pijlers</a:t>
          </a:r>
          <a:r>
            <a:rPr lang="fr-BE" sz="2000" dirty="0">
              <a:solidFill>
                <a:schemeClr val="bg1"/>
              </a:solidFill>
              <a:latin typeface="Calibri" panose="020F0502020204030204" pitchFamily="34" charset="0"/>
            </a:rPr>
            <a:t> van de </a:t>
          </a:r>
          <a:r>
            <a:rPr lang="fr-BE" sz="2000" dirty="0" err="1">
              <a:solidFill>
                <a:schemeClr val="bg1"/>
              </a:solidFill>
              <a:latin typeface="Calibri" panose="020F0502020204030204" pitchFamily="34" charset="0"/>
            </a:rPr>
            <a:t>strategie</a:t>
          </a:r>
          <a:endParaRPr lang="fr-BE" sz="2000" dirty="0">
            <a:solidFill>
              <a:schemeClr val="bg1"/>
            </a:solidFill>
            <a:latin typeface="Calibri" panose="020F0502020204030204" pitchFamily="34" charset="0"/>
          </a:endParaRPr>
        </a:p>
      </dgm:t>
    </dgm:pt>
    <dgm:pt modelId="{A0C7A5E7-DB1E-4258-8EAF-8D3D2483411E}" type="parTrans" cxnId="{78A97EF6-0AC5-4C79-8839-2D46AAB6B768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BD234383-02FC-4087-9492-704BF68D6090}" type="sibTrans" cxnId="{78A97EF6-0AC5-4C79-8839-2D46AAB6B768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5A69C169-2797-410E-A4BE-5641D42E5C23}">
      <dgm:prSet phldrT="[Text]" custT="1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fr-BE" sz="2000" dirty="0" err="1">
              <a:solidFill>
                <a:schemeClr val="bg1"/>
              </a:solidFill>
              <a:latin typeface="Calibri" panose="020F0502020204030204" pitchFamily="34" charset="0"/>
            </a:rPr>
            <a:t>Acties</a:t>
          </a:r>
          <a:endParaRPr lang="fr-BE" sz="2000" dirty="0">
            <a:solidFill>
              <a:schemeClr val="bg1"/>
            </a:solidFill>
            <a:latin typeface="Calibri" panose="020F0502020204030204" pitchFamily="34" charset="0"/>
          </a:endParaRPr>
        </a:p>
      </dgm:t>
    </dgm:pt>
    <dgm:pt modelId="{4929FB46-39B5-4EE2-90B5-5ABB1FDDD066}" type="parTrans" cxnId="{00E08E1D-DE71-4BEA-BA2D-F1798441A3E8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E98E7A55-3EE6-4646-AB21-167733B169FC}" type="sibTrans" cxnId="{00E08E1D-DE71-4BEA-BA2D-F1798441A3E8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64BF36E9-AA77-4D35-8732-EA1F6DC7631C}">
      <dgm:prSet phldrT="[Text]" custT="1"/>
      <dgm:spPr>
        <a:ln>
          <a:noFill/>
        </a:ln>
      </dgm:spPr>
      <dgm:t>
        <a:bodyPr/>
        <a:lstStyle/>
        <a:p>
          <a:r>
            <a:rPr lang="fr-BE" sz="1800" b="0" dirty="0" err="1">
              <a:solidFill>
                <a:schemeClr val="bg1"/>
              </a:solidFill>
              <a:latin typeface="Calibri" panose="020F0502020204030204" pitchFamily="34" charset="0"/>
            </a:rPr>
            <a:t>Repressie</a:t>
          </a:r>
          <a:endParaRPr lang="fr-BE" sz="1800" b="0" dirty="0">
            <a:solidFill>
              <a:schemeClr val="bg1"/>
            </a:solidFill>
            <a:latin typeface="Calibri" panose="020F0502020204030204" pitchFamily="34" charset="0"/>
          </a:endParaRPr>
        </a:p>
      </dgm:t>
    </dgm:pt>
    <dgm:pt modelId="{CF32CCFA-C9F3-401E-AF2C-2236CB66E416}" type="parTrans" cxnId="{5DC9E287-9362-4E06-89E2-6852708FE458}">
      <dgm:prSet/>
      <dgm:spPr>
        <a:ln>
          <a:solidFill>
            <a:srgbClr val="0070C0"/>
          </a:solidFill>
        </a:ln>
      </dgm:spPr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6D1BC32F-EE83-4143-B498-DDF8FB2FEF37}" type="sibTrans" cxnId="{5DC9E287-9362-4E06-89E2-6852708FE458}">
      <dgm:prSet/>
      <dgm:spPr/>
      <dgm:t>
        <a:bodyPr/>
        <a:lstStyle/>
        <a:p>
          <a:endParaRPr lang="en-GB">
            <a:latin typeface="Calibri" panose="020F0502020204030204" pitchFamily="34" charset="0"/>
          </a:endParaRPr>
        </a:p>
      </dgm:t>
    </dgm:pt>
    <dgm:pt modelId="{F818C66A-F34A-4396-9824-C32FAA319F43}">
      <dgm:prSet custT="1"/>
      <dgm:spPr>
        <a:ln>
          <a:noFill/>
        </a:ln>
      </dgm:spPr>
      <dgm:t>
        <a:bodyPr/>
        <a:lstStyle/>
        <a:p>
          <a:r>
            <a:rPr lang="nl-BE" sz="1600" dirty="0">
              <a:latin typeface="Calibri" panose="020F0502020204030204" pitchFamily="34" charset="0"/>
            </a:rPr>
            <a:t>Technische infrastructurele maatregelen</a:t>
          </a:r>
          <a:endParaRPr lang="fr-BE" sz="1600" dirty="0">
            <a:latin typeface="Calibri" panose="020F0502020204030204" pitchFamily="34" charset="0"/>
          </a:endParaRPr>
        </a:p>
      </dgm:t>
    </dgm:pt>
    <dgm:pt modelId="{CC048E50-6335-47E9-A2E9-BA063D65A0A2}" type="parTrans" cxnId="{BE096A3F-0452-467C-9B87-246B71FFA59D}">
      <dgm:prSet/>
      <dgm:spPr>
        <a:ln>
          <a:solidFill>
            <a:srgbClr val="0070C0"/>
          </a:solidFill>
        </a:ln>
      </dgm:spPr>
      <dgm:t>
        <a:bodyPr/>
        <a:lstStyle/>
        <a:p>
          <a:endParaRPr lang="fr-FR">
            <a:latin typeface="Calibri" panose="020F0502020204030204" pitchFamily="34" charset="0"/>
          </a:endParaRPr>
        </a:p>
      </dgm:t>
    </dgm:pt>
    <dgm:pt modelId="{5739FCC5-6DBE-4B02-ACA9-1F4C84428492}" type="sibTrans" cxnId="{BE096A3F-0452-467C-9B87-246B71FFA59D}">
      <dgm:prSet/>
      <dgm:spPr/>
      <dgm:t>
        <a:bodyPr/>
        <a:lstStyle/>
        <a:p>
          <a:endParaRPr lang="fr-FR">
            <a:latin typeface="Calibri" panose="020F0502020204030204" pitchFamily="34" charset="0"/>
          </a:endParaRPr>
        </a:p>
      </dgm:t>
    </dgm:pt>
    <dgm:pt modelId="{3102066C-B5E0-4674-854C-300964A8CD73}">
      <dgm:prSet custT="1"/>
      <dgm:spPr>
        <a:ln>
          <a:noFill/>
        </a:ln>
      </dgm:spPr>
      <dgm:t>
        <a:bodyPr/>
        <a:lstStyle/>
        <a:p>
          <a:r>
            <a:rPr lang="nl-BE" sz="1400" dirty="0">
              <a:latin typeface="Calibri" panose="020F0502020204030204" pitchFamily="34" charset="0"/>
            </a:rPr>
            <a:t>Aangekondigde EN onaangekondigde acties</a:t>
          </a:r>
          <a:endParaRPr lang="fr-BE" sz="1400" dirty="0">
            <a:latin typeface="Calibri" panose="020F0502020204030204" pitchFamily="34" charset="0"/>
          </a:endParaRPr>
        </a:p>
      </dgm:t>
    </dgm:pt>
    <dgm:pt modelId="{8053B406-4944-4259-8ACF-21A6F5B9239E}" type="parTrans" cxnId="{2147F05B-63BA-4019-BB33-F28580AE989F}">
      <dgm:prSet/>
      <dgm:spPr>
        <a:ln>
          <a:solidFill>
            <a:srgbClr val="0070C0"/>
          </a:solidFill>
        </a:ln>
      </dgm:spPr>
      <dgm:t>
        <a:bodyPr/>
        <a:lstStyle/>
        <a:p>
          <a:endParaRPr lang="fr-FR">
            <a:latin typeface="Calibri" panose="020F0502020204030204" pitchFamily="34" charset="0"/>
          </a:endParaRPr>
        </a:p>
      </dgm:t>
    </dgm:pt>
    <dgm:pt modelId="{BD25D065-E4D0-4B86-B69A-DA7B61AE7B6A}" type="sibTrans" cxnId="{2147F05B-63BA-4019-BB33-F28580AE989F}">
      <dgm:prSet/>
      <dgm:spPr/>
      <dgm:t>
        <a:bodyPr/>
        <a:lstStyle/>
        <a:p>
          <a:endParaRPr lang="fr-FR">
            <a:latin typeface="Calibri" panose="020F0502020204030204" pitchFamily="34" charset="0"/>
          </a:endParaRPr>
        </a:p>
      </dgm:t>
    </dgm:pt>
    <dgm:pt modelId="{1CB0D54B-349A-4E74-AB2B-7BF0A39CBAF9}">
      <dgm:prSet phldrT="[Text]" custT="1"/>
      <dgm:spPr>
        <a:solidFill>
          <a:schemeClr val="bg1">
            <a:lumMod val="65000"/>
          </a:schemeClr>
        </a:solidFill>
      </dgm:spPr>
      <dgm:t>
        <a:bodyPr/>
        <a:lstStyle/>
        <a:p>
          <a:pPr algn="l"/>
          <a:r>
            <a:rPr lang="fr-BE" sz="2000">
              <a:solidFill>
                <a:schemeClr val="bg1"/>
              </a:solidFill>
              <a:latin typeface="Calibri" panose="020F0502020204030204" pitchFamily="34" charset="0"/>
            </a:rPr>
            <a:t>Team</a:t>
          </a:r>
        </a:p>
      </dgm:t>
    </dgm:pt>
    <dgm:pt modelId="{A0EF236E-C75D-463D-B8B9-8023D6FD8AEE}" type="parTrans" cxnId="{4EB1F540-6587-4AD9-9647-5FCEA3500BAE}">
      <dgm:prSet/>
      <dgm:spPr/>
      <dgm:t>
        <a:bodyPr/>
        <a:lstStyle/>
        <a:p>
          <a:endParaRPr lang="fr-FR">
            <a:latin typeface="Calibri" panose="020F0502020204030204" pitchFamily="34" charset="0"/>
          </a:endParaRPr>
        </a:p>
      </dgm:t>
    </dgm:pt>
    <dgm:pt modelId="{00649431-B9D2-4374-AFE0-653266C6366E}" type="sibTrans" cxnId="{4EB1F540-6587-4AD9-9647-5FCEA3500BAE}">
      <dgm:prSet/>
      <dgm:spPr/>
      <dgm:t>
        <a:bodyPr/>
        <a:lstStyle/>
        <a:p>
          <a:endParaRPr lang="fr-FR">
            <a:latin typeface="Calibri" panose="020F0502020204030204" pitchFamily="34" charset="0"/>
          </a:endParaRPr>
        </a:p>
      </dgm:t>
    </dgm:pt>
    <dgm:pt modelId="{967FF3C6-06B7-41A2-940C-CFC6E27B294B}" type="pres">
      <dgm:prSet presAssocID="{F6FA8D2A-D866-483D-AC6F-FA7D3D513D38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E2B3C96-763B-46AA-9F32-9270F7BAE12B}" type="pres">
      <dgm:prSet presAssocID="{F6FA8D2A-D866-483D-AC6F-FA7D3D513D38}" presName="hierFlow" presStyleCnt="0"/>
      <dgm:spPr/>
    </dgm:pt>
    <dgm:pt modelId="{0B5BFFE2-7FCD-4D41-8F59-52AEC0F45F9A}" type="pres">
      <dgm:prSet presAssocID="{F6FA8D2A-D866-483D-AC6F-FA7D3D513D38}" presName="firstBuf" presStyleCnt="0"/>
      <dgm:spPr/>
    </dgm:pt>
    <dgm:pt modelId="{218AAFE4-037A-465A-B107-ABCADC28AC9E}" type="pres">
      <dgm:prSet presAssocID="{F6FA8D2A-D866-483D-AC6F-FA7D3D513D38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9EC1733-CF15-4192-BF00-4DFA44E8147C}" type="pres">
      <dgm:prSet presAssocID="{AD82A0C2-ACB8-4342-8374-9B402A417C3F}" presName="Name14" presStyleCnt="0"/>
      <dgm:spPr/>
    </dgm:pt>
    <dgm:pt modelId="{B7814254-D7B2-4B1B-8407-F2283B8C71B6}" type="pres">
      <dgm:prSet presAssocID="{AD82A0C2-ACB8-4342-8374-9B402A417C3F}" presName="level1Shape" presStyleLbl="node0" presStyleIdx="0" presStyleCnt="1" custScaleX="444163" custScaleY="147085" custLinFactNeighborX="17378" custLinFactNeighborY="-47309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6539EDB-E616-4B41-AA17-4D31F7FB93D0}" type="pres">
      <dgm:prSet presAssocID="{AD82A0C2-ACB8-4342-8374-9B402A417C3F}" presName="hierChild2" presStyleCnt="0"/>
      <dgm:spPr/>
    </dgm:pt>
    <dgm:pt modelId="{A5011729-A74C-43B0-A9FD-9B8D7C2252FC}" type="pres">
      <dgm:prSet presAssocID="{1348F43A-576A-473D-AF12-D7B23793B1A7}" presName="Name19" presStyleLbl="parChTrans1D2" presStyleIdx="0" presStyleCnt="3"/>
      <dgm:spPr/>
      <dgm:t>
        <a:bodyPr/>
        <a:lstStyle/>
        <a:p>
          <a:endParaRPr lang="en-US"/>
        </a:p>
      </dgm:t>
    </dgm:pt>
    <dgm:pt modelId="{5D052130-4FEA-4A32-B4D4-A96661FBCA5F}" type="pres">
      <dgm:prSet presAssocID="{B97EBB36-E3C2-483D-BA4D-641B6B139F14}" presName="Name21" presStyleCnt="0"/>
      <dgm:spPr/>
    </dgm:pt>
    <dgm:pt modelId="{10B30652-A73A-4FF9-B460-3C136FA08A50}" type="pres">
      <dgm:prSet presAssocID="{B97EBB36-E3C2-483D-BA4D-641B6B139F14}" presName="level2Shape" presStyleLbl="node2" presStyleIdx="0" presStyleCnt="3" custScaleX="176647" custLinFactNeighborY="-47862"/>
      <dgm:spPr/>
      <dgm:t>
        <a:bodyPr/>
        <a:lstStyle/>
        <a:p>
          <a:endParaRPr lang="en-US"/>
        </a:p>
      </dgm:t>
    </dgm:pt>
    <dgm:pt modelId="{0EC152FB-85E1-43E1-9F9F-1F28C8CC7E7F}" type="pres">
      <dgm:prSet presAssocID="{B97EBB36-E3C2-483D-BA4D-641B6B139F14}" presName="hierChild3" presStyleCnt="0"/>
      <dgm:spPr/>
    </dgm:pt>
    <dgm:pt modelId="{B81F4D85-5F33-4987-8BCE-DA8A00991B01}" type="pres">
      <dgm:prSet presAssocID="{523BAC0C-B301-4A72-AB7D-52B83D9E160E}" presName="Name19" presStyleLbl="parChTrans1D3" presStyleIdx="0" presStyleCnt="4"/>
      <dgm:spPr/>
      <dgm:t>
        <a:bodyPr/>
        <a:lstStyle/>
        <a:p>
          <a:endParaRPr lang="en-US"/>
        </a:p>
      </dgm:t>
    </dgm:pt>
    <dgm:pt modelId="{B68D2058-8F7F-4EAC-939D-D779959B3091}" type="pres">
      <dgm:prSet presAssocID="{85FCE61D-0DE0-4126-A8A2-9C9148D85ACC}" presName="Name21" presStyleCnt="0"/>
      <dgm:spPr/>
    </dgm:pt>
    <dgm:pt modelId="{AB3FB5FF-A2C5-478F-A45B-1EB6550CE0E7}" type="pres">
      <dgm:prSet presAssocID="{85FCE61D-0DE0-4126-A8A2-9C9148D85ACC}" presName="level2Shape" presStyleLbl="node3" presStyleIdx="0" presStyleCnt="4" custScaleX="115438" custLinFactNeighborX="-25581" custLinFactNeighborY="-45219"/>
      <dgm:spPr/>
      <dgm:t>
        <a:bodyPr/>
        <a:lstStyle/>
        <a:p>
          <a:endParaRPr lang="en-US"/>
        </a:p>
      </dgm:t>
    </dgm:pt>
    <dgm:pt modelId="{F1986278-7F7A-4BC8-8366-53D3D31FF135}" type="pres">
      <dgm:prSet presAssocID="{85FCE61D-0DE0-4126-A8A2-9C9148D85ACC}" presName="hierChild3" presStyleCnt="0"/>
      <dgm:spPr/>
    </dgm:pt>
    <dgm:pt modelId="{33C78128-41AF-4A96-9936-BA0BD72DBE68}" type="pres">
      <dgm:prSet presAssocID="{14907EC4-E76D-4D5A-B99A-4D9AB0347F58}" presName="Name19" presStyleLbl="parChTrans1D3" presStyleIdx="1" presStyleCnt="4"/>
      <dgm:spPr/>
      <dgm:t>
        <a:bodyPr/>
        <a:lstStyle/>
        <a:p>
          <a:endParaRPr lang="en-US"/>
        </a:p>
      </dgm:t>
    </dgm:pt>
    <dgm:pt modelId="{C9687005-12F1-455D-83BF-D844A9BE2C4D}" type="pres">
      <dgm:prSet presAssocID="{C6B5C754-958D-41A9-AB27-47204393DE7D}" presName="Name21" presStyleCnt="0"/>
      <dgm:spPr/>
    </dgm:pt>
    <dgm:pt modelId="{AF933844-0408-4218-95CA-EBDA1B7A72CD}" type="pres">
      <dgm:prSet presAssocID="{C6B5C754-958D-41A9-AB27-47204393DE7D}" presName="level2Shape" presStyleLbl="node3" presStyleIdx="1" presStyleCnt="4" custScaleX="125306" custLinFactNeighborX="-25581" custLinFactNeighborY="-45219"/>
      <dgm:spPr/>
      <dgm:t>
        <a:bodyPr/>
        <a:lstStyle/>
        <a:p>
          <a:endParaRPr lang="en-US"/>
        </a:p>
      </dgm:t>
    </dgm:pt>
    <dgm:pt modelId="{7282B92D-A1AF-4D13-A096-F4D700B99B56}" type="pres">
      <dgm:prSet presAssocID="{C6B5C754-958D-41A9-AB27-47204393DE7D}" presName="hierChild3" presStyleCnt="0"/>
      <dgm:spPr/>
    </dgm:pt>
    <dgm:pt modelId="{F1F20181-A2AE-4D45-8DE5-18C6D0DD8212}" type="pres">
      <dgm:prSet presAssocID="{11A5C231-CCA6-4060-9313-82FB5A6B816F}" presName="Name19" presStyleLbl="parChTrans1D2" presStyleIdx="1" presStyleCnt="3"/>
      <dgm:spPr/>
      <dgm:t>
        <a:bodyPr/>
        <a:lstStyle/>
        <a:p>
          <a:endParaRPr lang="en-US"/>
        </a:p>
      </dgm:t>
    </dgm:pt>
    <dgm:pt modelId="{034DFDB3-0D4F-4D07-AA8A-04EFB9779C98}" type="pres">
      <dgm:prSet presAssocID="{CB14C324-6E86-4A30-A260-78A42F0CAC3D}" presName="Name21" presStyleCnt="0"/>
      <dgm:spPr/>
    </dgm:pt>
    <dgm:pt modelId="{24C5545F-0387-4703-B899-8C36A762A4CA}" type="pres">
      <dgm:prSet presAssocID="{CB14C324-6E86-4A30-A260-78A42F0CAC3D}" presName="level2Shape" presStyleLbl="node2" presStyleIdx="1" presStyleCnt="3" custScaleX="132208" custLinFactNeighborX="-22039" custLinFactNeighborY="-46496"/>
      <dgm:spPr/>
      <dgm:t>
        <a:bodyPr/>
        <a:lstStyle/>
        <a:p>
          <a:endParaRPr lang="en-US"/>
        </a:p>
      </dgm:t>
    </dgm:pt>
    <dgm:pt modelId="{B6422C4B-B4F3-4B7B-968A-F1BCDD841329}" type="pres">
      <dgm:prSet presAssocID="{CB14C324-6E86-4A30-A260-78A42F0CAC3D}" presName="hierChild3" presStyleCnt="0"/>
      <dgm:spPr/>
    </dgm:pt>
    <dgm:pt modelId="{D423AFA3-5C8E-4A2D-9FCE-9AD49B5C45ED}" type="pres">
      <dgm:prSet presAssocID="{CC048E50-6335-47E9-A2E9-BA063D65A0A2}" presName="Name19" presStyleLbl="parChTrans1D3" presStyleIdx="2" presStyleCnt="4"/>
      <dgm:spPr/>
      <dgm:t>
        <a:bodyPr/>
        <a:lstStyle/>
        <a:p>
          <a:endParaRPr lang="en-US"/>
        </a:p>
      </dgm:t>
    </dgm:pt>
    <dgm:pt modelId="{A80756B5-15E8-4672-818C-49E041212541}" type="pres">
      <dgm:prSet presAssocID="{F818C66A-F34A-4396-9824-C32FAA319F43}" presName="Name21" presStyleCnt="0"/>
      <dgm:spPr/>
    </dgm:pt>
    <dgm:pt modelId="{A9B53043-F056-4A08-A8DD-F58F4D2953DF}" type="pres">
      <dgm:prSet presAssocID="{F818C66A-F34A-4396-9824-C32FAA319F43}" presName="level2Shape" presStyleLbl="node3" presStyleIdx="2" presStyleCnt="4" custScaleX="148100" custLinFactNeighborX="-22039" custLinFactNeighborY="-45219"/>
      <dgm:spPr/>
      <dgm:t>
        <a:bodyPr/>
        <a:lstStyle/>
        <a:p>
          <a:endParaRPr lang="en-US"/>
        </a:p>
      </dgm:t>
    </dgm:pt>
    <dgm:pt modelId="{0C1D0990-7660-4FEF-A31D-D6A6E02A9D40}" type="pres">
      <dgm:prSet presAssocID="{F818C66A-F34A-4396-9824-C32FAA319F43}" presName="hierChild3" presStyleCnt="0"/>
      <dgm:spPr/>
    </dgm:pt>
    <dgm:pt modelId="{E8577D25-C249-4596-A85D-4DD2863EBB47}" type="pres">
      <dgm:prSet presAssocID="{CF32CCFA-C9F3-401E-AF2C-2236CB66E416}" presName="Name19" presStyleLbl="parChTrans1D2" presStyleIdx="2" presStyleCnt="3"/>
      <dgm:spPr/>
      <dgm:t>
        <a:bodyPr/>
        <a:lstStyle/>
        <a:p>
          <a:endParaRPr lang="en-US"/>
        </a:p>
      </dgm:t>
    </dgm:pt>
    <dgm:pt modelId="{3AD4BAC6-9CAF-46C4-82DC-FE53E87C667D}" type="pres">
      <dgm:prSet presAssocID="{64BF36E9-AA77-4D35-8732-EA1F6DC7631C}" presName="Name21" presStyleCnt="0"/>
      <dgm:spPr/>
    </dgm:pt>
    <dgm:pt modelId="{3F39D1D8-E097-4437-8319-AECB0CFF6CCE}" type="pres">
      <dgm:prSet presAssocID="{64BF36E9-AA77-4D35-8732-EA1F6DC7631C}" presName="level2Shape" presStyleLbl="node2" presStyleIdx="2" presStyleCnt="3" custScaleX="132208" custLinFactNeighborY="-47862"/>
      <dgm:spPr/>
      <dgm:t>
        <a:bodyPr/>
        <a:lstStyle/>
        <a:p>
          <a:endParaRPr lang="en-US"/>
        </a:p>
      </dgm:t>
    </dgm:pt>
    <dgm:pt modelId="{7B3C1DB8-67C8-44E2-93CF-0AB4F830B0EF}" type="pres">
      <dgm:prSet presAssocID="{64BF36E9-AA77-4D35-8732-EA1F6DC7631C}" presName="hierChild3" presStyleCnt="0"/>
      <dgm:spPr/>
    </dgm:pt>
    <dgm:pt modelId="{A009EB74-CEAB-446B-A46D-49E2BF39FA95}" type="pres">
      <dgm:prSet presAssocID="{8053B406-4944-4259-8ACF-21A6F5B9239E}" presName="Name19" presStyleLbl="parChTrans1D3" presStyleIdx="3" presStyleCnt="4"/>
      <dgm:spPr/>
      <dgm:t>
        <a:bodyPr/>
        <a:lstStyle/>
        <a:p>
          <a:endParaRPr lang="en-US"/>
        </a:p>
      </dgm:t>
    </dgm:pt>
    <dgm:pt modelId="{D1E81C63-8569-42DD-957C-0C89158F4EB7}" type="pres">
      <dgm:prSet presAssocID="{3102066C-B5E0-4674-854C-300964A8CD73}" presName="Name21" presStyleCnt="0"/>
      <dgm:spPr/>
    </dgm:pt>
    <dgm:pt modelId="{989284A4-2E37-42D1-BF18-196898D4ECAA}" type="pres">
      <dgm:prSet presAssocID="{3102066C-B5E0-4674-854C-300964A8CD73}" presName="level2Shape" presStyleLbl="node3" presStyleIdx="3" presStyleCnt="4" custScaleX="174133" custLinFactNeighborY="-45219"/>
      <dgm:spPr/>
      <dgm:t>
        <a:bodyPr/>
        <a:lstStyle/>
        <a:p>
          <a:endParaRPr lang="en-US"/>
        </a:p>
      </dgm:t>
    </dgm:pt>
    <dgm:pt modelId="{E6226601-514C-459D-AA36-485BF6AC6D2A}" type="pres">
      <dgm:prSet presAssocID="{3102066C-B5E0-4674-854C-300964A8CD73}" presName="hierChild3" presStyleCnt="0"/>
      <dgm:spPr/>
    </dgm:pt>
    <dgm:pt modelId="{53586DCE-4EF5-4097-B28B-9B06B0A07C92}" type="pres">
      <dgm:prSet presAssocID="{F6FA8D2A-D866-483D-AC6F-FA7D3D513D38}" presName="bgShapesFlow" presStyleCnt="0"/>
      <dgm:spPr/>
    </dgm:pt>
    <dgm:pt modelId="{8CCBC3BD-BD70-4427-BABB-7E5EAE93D16E}" type="pres">
      <dgm:prSet presAssocID="{185F5F28-68A2-409E-A8A9-B934F4B173B6}" presName="rectComp" presStyleCnt="0"/>
      <dgm:spPr/>
    </dgm:pt>
    <dgm:pt modelId="{0091BBCB-15BF-4E9E-8F88-740223608689}" type="pres">
      <dgm:prSet presAssocID="{185F5F28-68A2-409E-A8A9-B934F4B173B6}" presName="bgRect" presStyleLbl="bgShp" presStyleIdx="0" presStyleCnt="4"/>
      <dgm:spPr/>
      <dgm:t>
        <a:bodyPr/>
        <a:lstStyle/>
        <a:p>
          <a:endParaRPr lang="en-US"/>
        </a:p>
      </dgm:t>
    </dgm:pt>
    <dgm:pt modelId="{F8994A33-7388-4D33-8CFA-0F1487E13F10}" type="pres">
      <dgm:prSet presAssocID="{185F5F28-68A2-409E-A8A9-B934F4B173B6}" presName="bgRectTx" presStyleLbl="bgShp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D09DDC-B370-42EF-BF8F-C55F2FEEE734}" type="pres">
      <dgm:prSet presAssocID="{185F5F28-68A2-409E-A8A9-B934F4B173B6}" presName="spComp" presStyleCnt="0"/>
      <dgm:spPr/>
    </dgm:pt>
    <dgm:pt modelId="{2F168A68-A8DA-4649-BEB3-09569565CC70}" type="pres">
      <dgm:prSet presAssocID="{185F5F28-68A2-409E-A8A9-B934F4B173B6}" presName="vSp" presStyleCnt="0"/>
      <dgm:spPr/>
    </dgm:pt>
    <dgm:pt modelId="{7E9D4832-F5DF-4F44-8A3B-6DE4570BAD10}" type="pres">
      <dgm:prSet presAssocID="{EA95D8E6-3372-4CF5-9392-2E4E91078B0C}" presName="rectComp" presStyleCnt="0"/>
      <dgm:spPr/>
    </dgm:pt>
    <dgm:pt modelId="{964BE38D-77D0-4212-8DB2-713C8EEA1EAB}" type="pres">
      <dgm:prSet presAssocID="{EA95D8E6-3372-4CF5-9392-2E4E91078B0C}" presName="bgRect" presStyleLbl="bgShp" presStyleIdx="1" presStyleCnt="4"/>
      <dgm:spPr/>
      <dgm:t>
        <a:bodyPr/>
        <a:lstStyle/>
        <a:p>
          <a:endParaRPr lang="en-US"/>
        </a:p>
      </dgm:t>
    </dgm:pt>
    <dgm:pt modelId="{C2D71B77-60D8-4734-8FE6-99A82F9C2A33}" type="pres">
      <dgm:prSet presAssocID="{EA95D8E6-3372-4CF5-9392-2E4E91078B0C}" presName="bgRectTx" presStyleLbl="bgShp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D5B211-DFDC-456E-AB86-FD0FC21F80B8}" type="pres">
      <dgm:prSet presAssocID="{EA95D8E6-3372-4CF5-9392-2E4E91078B0C}" presName="spComp" presStyleCnt="0"/>
      <dgm:spPr/>
    </dgm:pt>
    <dgm:pt modelId="{DA94FC93-0158-4652-BB0D-1A4525CF34E6}" type="pres">
      <dgm:prSet presAssocID="{EA95D8E6-3372-4CF5-9392-2E4E91078B0C}" presName="vSp" presStyleCnt="0"/>
      <dgm:spPr/>
    </dgm:pt>
    <dgm:pt modelId="{07671347-A3A2-4292-A614-BE82CDD5E537}" type="pres">
      <dgm:prSet presAssocID="{5A69C169-2797-410E-A4BE-5641D42E5C23}" presName="rectComp" presStyleCnt="0"/>
      <dgm:spPr/>
    </dgm:pt>
    <dgm:pt modelId="{A2BF0996-473E-45C2-B0D2-C00076C29A8F}" type="pres">
      <dgm:prSet presAssocID="{5A69C169-2797-410E-A4BE-5641D42E5C23}" presName="bgRect" presStyleLbl="bgShp" presStyleIdx="2" presStyleCnt="4" custLinFactNeighborX="374"/>
      <dgm:spPr/>
      <dgm:t>
        <a:bodyPr/>
        <a:lstStyle/>
        <a:p>
          <a:endParaRPr lang="en-US"/>
        </a:p>
      </dgm:t>
    </dgm:pt>
    <dgm:pt modelId="{37CF462C-BE41-4AEF-AFF7-DF7DB0399B02}" type="pres">
      <dgm:prSet presAssocID="{5A69C169-2797-410E-A4BE-5641D42E5C23}" presName="bgRectTx" presStyleLbl="bgShp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EB6801-2730-412E-ADFB-B95706B56FB4}" type="pres">
      <dgm:prSet presAssocID="{5A69C169-2797-410E-A4BE-5641D42E5C23}" presName="spComp" presStyleCnt="0"/>
      <dgm:spPr/>
    </dgm:pt>
    <dgm:pt modelId="{85864EE0-959A-4D5A-A2DF-87EFC5E6E57A}" type="pres">
      <dgm:prSet presAssocID="{5A69C169-2797-410E-A4BE-5641D42E5C23}" presName="vSp" presStyleCnt="0"/>
      <dgm:spPr/>
    </dgm:pt>
    <dgm:pt modelId="{68BB7D88-88B2-4477-A6E9-C3E52809A10E}" type="pres">
      <dgm:prSet presAssocID="{1CB0D54B-349A-4E74-AB2B-7BF0A39CBAF9}" presName="rectComp" presStyleCnt="0"/>
      <dgm:spPr/>
    </dgm:pt>
    <dgm:pt modelId="{A142CC50-92D5-4F07-B7C6-A6A95D9123F4}" type="pres">
      <dgm:prSet presAssocID="{1CB0D54B-349A-4E74-AB2B-7BF0A39CBAF9}" presName="bgRect" presStyleLbl="bgShp" presStyleIdx="3" presStyleCnt="4" custLinFactNeighborX="374"/>
      <dgm:spPr/>
      <dgm:t>
        <a:bodyPr/>
        <a:lstStyle/>
        <a:p>
          <a:endParaRPr lang="en-US"/>
        </a:p>
      </dgm:t>
    </dgm:pt>
    <dgm:pt modelId="{795699B1-95F5-4AF1-9125-CD546387C5D1}" type="pres">
      <dgm:prSet presAssocID="{1CB0D54B-349A-4E74-AB2B-7BF0A39CBAF9}" presName="bgRectTx" presStyleLbl="bgShp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0AA32C7-75C3-440F-88E4-0CF1B1CDE456}" type="presOf" srcId="{5A69C169-2797-410E-A4BE-5641D42E5C23}" destId="{37CF462C-BE41-4AEF-AFF7-DF7DB0399B02}" srcOrd="1" destOrd="0" presId="urn:microsoft.com/office/officeart/2005/8/layout/hierarchy6"/>
    <dgm:cxn modelId="{854E1BCD-888F-4FB5-AAF6-9FCB47298AF2}" type="presOf" srcId="{185F5F28-68A2-409E-A8A9-B934F4B173B6}" destId="{0091BBCB-15BF-4E9E-8F88-740223608689}" srcOrd="0" destOrd="0" presId="urn:microsoft.com/office/officeart/2005/8/layout/hierarchy6"/>
    <dgm:cxn modelId="{2147F05B-63BA-4019-BB33-F28580AE989F}" srcId="{64BF36E9-AA77-4D35-8732-EA1F6DC7631C}" destId="{3102066C-B5E0-4674-854C-300964A8CD73}" srcOrd="0" destOrd="0" parTransId="{8053B406-4944-4259-8ACF-21A6F5B9239E}" sibTransId="{BD25D065-E4D0-4B86-B69A-DA7B61AE7B6A}"/>
    <dgm:cxn modelId="{E112B054-0B8A-4B8C-927F-921BC6B45AAE}" type="presOf" srcId="{14907EC4-E76D-4D5A-B99A-4D9AB0347F58}" destId="{33C78128-41AF-4A96-9936-BA0BD72DBE68}" srcOrd="0" destOrd="0" presId="urn:microsoft.com/office/officeart/2005/8/layout/hierarchy6"/>
    <dgm:cxn modelId="{3569E604-513C-4E14-B089-D1F95F40AC5A}" type="presOf" srcId="{CF32CCFA-C9F3-401E-AF2C-2236CB66E416}" destId="{E8577D25-C249-4596-A85D-4DD2863EBB47}" srcOrd="0" destOrd="0" presId="urn:microsoft.com/office/officeart/2005/8/layout/hierarchy6"/>
    <dgm:cxn modelId="{CD0E6240-581A-469E-AB65-8441B34E6399}" srcId="{AD82A0C2-ACB8-4342-8374-9B402A417C3F}" destId="{B97EBB36-E3C2-483D-BA4D-641B6B139F14}" srcOrd="0" destOrd="0" parTransId="{1348F43A-576A-473D-AF12-D7B23793B1A7}" sibTransId="{98C76137-B780-424D-BE9B-8DC4FA266002}"/>
    <dgm:cxn modelId="{0D722E93-B09B-4B23-A659-EB74A4D88B77}" srcId="{F6FA8D2A-D866-483D-AC6F-FA7D3D513D38}" destId="{185F5F28-68A2-409E-A8A9-B934F4B173B6}" srcOrd="1" destOrd="0" parTransId="{8FEC9B73-5311-45C2-A8F6-7DBF14C25E55}" sibTransId="{3F313D1D-6AC9-4D2B-88A4-4218DE5EC57E}"/>
    <dgm:cxn modelId="{78A97EF6-0AC5-4C79-8839-2D46AAB6B768}" srcId="{F6FA8D2A-D866-483D-AC6F-FA7D3D513D38}" destId="{EA95D8E6-3372-4CF5-9392-2E4E91078B0C}" srcOrd="2" destOrd="0" parTransId="{A0C7A5E7-DB1E-4258-8EAF-8D3D2483411E}" sibTransId="{BD234383-02FC-4087-9492-704BF68D6090}"/>
    <dgm:cxn modelId="{0409926B-6AD2-4D3A-81EB-6E84401A1413}" type="presOf" srcId="{F818C66A-F34A-4396-9824-C32FAA319F43}" destId="{A9B53043-F056-4A08-A8DD-F58F4D2953DF}" srcOrd="0" destOrd="0" presId="urn:microsoft.com/office/officeart/2005/8/layout/hierarchy6"/>
    <dgm:cxn modelId="{434EEBB1-A38C-4CF2-B0A5-F2597C5E0718}" type="presOf" srcId="{5A69C169-2797-410E-A4BE-5641D42E5C23}" destId="{A2BF0996-473E-45C2-B0D2-C00076C29A8F}" srcOrd="0" destOrd="0" presId="urn:microsoft.com/office/officeart/2005/8/layout/hierarchy6"/>
    <dgm:cxn modelId="{DBDCFBC8-6BC3-443F-9914-3EB05A23329E}" type="presOf" srcId="{EA95D8E6-3372-4CF5-9392-2E4E91078B0C}" destId="{964BE38D-77D0-4212-8DB2-713C8EEA1EAB}" srcOrd="0" destOrd="0" presId="urn:microsoft.com/office/officeart/2005/8/layout/hierarchy6"/>
    <dgm:cxn modelId="{0B98D0FA-389E-4F46-AAC3-5F12A81133D5}" srcId="{B97EBB36-E3C2-483D-BA4D-641B6B139F14}" destId="{85FCE61D-0DE0-4126-A8A2-9C9148D85ACC}" srcOrd="0" destOrd="0" parTransId="{523BAC0C-B301-4A72-AB7D-52B83D9E160E}" sibTransId="{C92C1062-1180-499A-BE51-EEDDA52C65D1}"/>
    <dgm:cxn modelId="{BAECC3BA-6FFB-4103-BEE0-77C296B873D9}" type="presOf" srcId="{1348F43A-576A-473D-AF12-D7B23793B1A7}" destId="{A5011729-A74C-43B0-A9FD-9B8D7C2252FC}" srcOrd="0" destOrd="0" presId="urn:microsoft.com/office/officeart/2005/8/layout/hierarchy6"/>
    <dgm:cxn modelId="{FA77D805-8B58-4D6E-946F-2867C413AE80}" type="presOf" srcId="{C6B5C754-958D-41A9-AB27-47204393DE7D}" destId="{AF933844-0408-4218-95CA-EBDA1B7A72CD}" srcOrd="0" destOrd="0" presId="urn:microsoft.com/office/officeart/2005/8/layout/hierarchy6"/>
    <dgm:cxn modelId="{C0B4E4AD-9193-49CB-B7DE-813401C41567}" type="presOf" srcId="{85FCE61D-0DE0-4126-A8A2-9C9148D85ACC}" destId="{AB3FB5FF-A2C5-478F-A45B-1EB6550CE0E7}" srcOrd="0" destOrd="0" presId="urn:microsoft.com/office/officeart/2005/8/layout/hierarchy6"/>
    <dgm:cxn modelId="{825BF1F5-FB83-49DF-BD2C-9788EFD82D0B}" srcId="{AD82A0C2-ACB8-4342-8374-9B402A417C3F}" destId="{CB14C324-6E86-4A30-A260-78A42F0CAC3D}" srcOrd="1" destOrd="0" parTransId="{11A5C231-CCA6-4060-9313-82FB5A6B816F}" sibTransId="{74F5A511-4E7C-4EC9-BEFB-E3FCEAEB2810}"/>
    <dgm:cxn modelId="{FF6B7556-5A94-4CFC-A079-ADF1608ECA75}" type="presOf" srcId="{B97EBB36-E3C2-483D-BA4D-641B6B139F14}" destId="{10B30652-A73A-4FF9-B460-3C136FA08A50}" srcOrd="0" destOrd="0" presId="urn:microsoft.com/office/officeart/2005/8/layout/hierarchy6"/>
    <dgm:cxn modelId="{2F80E368-691B-488B-97F8-6869A22FBC20}" type="presOf" srcId="{F6FA8D2A-D866-483D-AC6F-FA7D3D513D38}" destId="{967FF3C6-06B7-41A2-940C-CFC6E27B294B}" srcOrd="0" destOrd="0" presId="urn:microsoft.com/office/officeart/2005/8/layout/hierarchy6"/>
    <dgm:cxn modelId="{66D3D4CF-971C-4B4B-AC38-821D3CAB1F8C}" type="presOf" srcId="{CC048E50-6335-47E9-A2E9-BA063D65A0A2}" destId="{D423AFA3-5C8E-4A2D-9FCE-9AD49B5C45ED}" srcOrd="0" destOrd="0" presId="urn:microsoft.com/office/officeart/2005/8/layout/hierarchy6"/>
    <dgm:cxn modelId="{05A88915-2259-4DE9-880C-63809F031A94}" type="presOf" srcId="{185F5F28-68A2-409E-A8A9-B934F4B173B6}" destId="{F8994A33-7388-4D33-8CFA-0F1487E13F10}" srcOrd="1" destOrd="0" presId="urn:microsoft.com/office/officeart/2005/8/layout/hierarchy6"/>
    <dgm:cxn modelId="{1424DF99-8831-41F8-9E5A-7FDF25CE4856}" type="presOf" srcId="{523BAC0C-B301-4A72-AB7D-52B83D9E160E}" destId="{B81F4D85-5F33-4987-8BCE-DA8A00991B01}" srcOrd="0" destOrd="0" presId="urn:microsoft.com/office/officeart/2005/8/layout/hierarchy6"/>
    <dgm:cxn modelId="{BE096A3F-0452-467C-9B87-246B71FFA59D}" srcId="{CB14C324-6E86-4A30-A260-78A42F0CAC3D}" destId="{F818C66A-F34A-4396-9824-C32FAA319F43}" srcOrd="0" destOrd="0" parTransId="{CC048E50-6335-47E9-A2E9-BA063D65A0A2}" sibTransId="{5739FCC5-6DBE-4B02-ACA9-1F4C84428492}"/>
    <dgm:cxn modelId="{1F19E9FD-F21F-40D8-AF5D-315FD07C3A11}" type="presOf" srcId="{3102066C-B5E0-4674-854C-300964A8CD73}" destId="{989284A4-2E37-42D1-BF18-196898D4ECAA}" srcOrd="0" destOrd="0" presId="urn:microsoft.com/office/officeart/2005/8/layout/hierarchy6"/>
    <dgm:cxn modelId="{273A2856-45EA-4267-A063-3689856C008E}" type="presOf" srcId="{1CB0D54B-349A-4E74-AB2B-7BF0A39CBAF9}" destId="{A142CC50-92D5-4F07-B7C6-A6A95D9123F4}" srcOrd="0" destOrd="0" presId="urn:microsoft.com/office/officeart/2005/8/layout/hierarchy6"/>
    <dgm:cxn modelId="{D9529C2D-8E19-46E4-9584-8C472DA88372}" type="presOf" srcId="{CB14C324-6E86-4A30-A260-78A42F0CAC3D}" destId="{24C5545F-0387-4703-B899-8C36A762A4CA}" srcOrd="0" destOrd="0" presId="urn:microsoft.com/office/officeart/2005/8/layout/hierarchy6"/>
    <dgm:cxn modelId="{509179CA-9626-4324-AB79-6761E8FE9068}" type="presOf" srcId="{8053B406-4944-4259-8ACF-21A6F5B9239E}" destId="{A009EB74-CEAB-446B-A46D-49E2BF39FA95}" srcOrd="0" destOrd="0" presId="urn:microsoft.com/office/officeart/2005/8/layout/hierarchy6"/>
    <dgm:cxn modelId="{BF3C6DF3-DC47-4E7E-BF7C-1EF846A890AB}" srcId="{F6FA8D2A-D866-483D-AC6F-FA7D3D513D38}" destId="{AD82A0C2-ACB8-4342-8374-9B402A417C3F}" srcOrd="0" destOrd="0" parTransId="{9E3BF4F1-5068-4C8D-8422-808C2872826D}" sibTransId="{93DC6D83-F199-48F0-8045-B5C4AE2A0CE4}"/>
    <dgm:cxn modelId="{05B7DC98-464C-4B14-BB77-224558E6A8C7}" srcId="{B97EBB36-E3C2-483D-BA4D-641B6B139F14}" destId="{C6B5C754-958D-41A9-AB27-47204393DE7D}" srcOrd="1" destOrd="0" parTransId="{14907EC4-E76D-4D5A-B99A-4D9AB0347F58}" sibTransId="{50FCC875-09C6-4F72-9EDA-1475A38B446A}"/>
    <dgm:cxn modelId="{9A45A00B-91D0-4078-BF45-DA7D49B06A83}" type="presOf" srcId="{1CB0D54B-349A-4E74-AB2B-7BF0A39CBAF9}" destId="{795699B1-95F5-4AF1-9125-CD546387C5D1}" srcOrd="1" destOrd="0" presId="urn:microsoft.com/office/officeart/2005/8/layout/hierarchy6"/>
    <dgm:cxn modelId="{4EB1F540-6587-4AD9-9647-5FCEA3500BAE}" srcId="{F6FA8D2A-D866-483D-AC6F-FA7D3D513D38}" destId="{1CB0D54B-349A-4E74-AB2B-7BF0A39CBAF9}" srcOrd="4" destOrd="0" parTransId="{A0EF236E-C75D-463D-B8B9-8023D6FD8AEE}" sibTransId="{00649431-B9D2-4374-AFE0-653266C6366E}"/>
    <dgm:cxn modelId="{00E08E1D-DE71-4BEA-BA2D-F1798441A3E8}" srcId="{F6FA8D2A-D866-483D-AC6F-FA7D3D513D38}" destId="{5A69C169-2797-410E-A4BE-5641D42E5C23}" srcOrd="3" destOrd="0" parTransId="{4929FB46-39B5-4EE2-90B5-5ABB1FDDD066}" sibTransId="{E98E7A55-3EE6-4646-AB21-167733B169FC}"/>
    <dgm:cxn modelId="{5DC9E287-9362-4E06-89E2-6852708FE458}" srcId="{AD82A0C2-ACB8-4342-8374-9B402A417C3F}" destId="{64BF36E9-AA77-4D35-8732-EA1F6DC7631C}" srcOrd="2" destOrd="0" parTransId="{CF32CCFA-C9F3-401E-AF2C-2236CB66E416}" sibTransId="{6D1BC32F-EE83-4143-B498-DDF8FB2FEF37}"/>
    <dgm:cxn modelId="{943D571C-E178-4033-8AAC-B462C9A5FB32}" type="presOf" srcId="{11A5C231-CCA6-4060-9313-82FB5A6B816F}" destId="{F1F20181-A2AE-4D45-8DE5-18C6D0DD8212}" srcOrd="0" destOrd="0" presId="urn:microsoft.com/office/officeart/2005/8/layout/hierarchy6"/>
    <dgm:cxn modelId="{B0E1DB84-5809-42AF-BA67-1BBF1558392F}" type="presOf" srcId="{AD82A0C2-ACB8-4342-8374-9B402A417C3F}" destId="{B7814254-D7B2-4B1B-8407-F2283B8C71B6}" srcOrd="0" destOrd="0" presId="urn:microsoft.com/office/officeart/2005/8/layout/hierarchy6"/>
    <dgm:cxn modelId="{68958A42-D758-403B-B23E-1143494287FD}" type="presOf" srcId="{64BF36E9-AA77-4D35-8732-EA1F6DC7631C}" destId="{3F39D1D8-E097-4437-8319-AECB0CFF6CCE}" srcOrd="0" destOrd="0" presId="urn:microsoft.com/office/officeart/2005/8/layout/hierarchy6"/>
    <dgm:cxn modelId="{083D3873-95B4-48A0-9263-6DADFEA8801A}" type="presOf" srcId="{EA95D8E6-3372-4CF5-9392-2E4E91078B0C}" destId="{C2D71B77-60D8-4734-8FE6-99A82F9C2A33}" srcOrd="1" destOrd="0" presId="urn:microsoft.com/office/officeart/2005/8/layout/hierarchy6"/>
    <dgm:cxn modelId="{04502189-A413-42A0-9DAB-DA63138821CF}" type="presParOf" srcId="{967FF3C6-06B7-41A2-940C-CFC6E27B294B}" destId="{FE2B3C96-763B-46AA-9F32-9270F7BAE12B}" srcOrd="0" destOrd="0" presId="urn:microsoft.com/office/officeart/2005/8/layout/hierarchy6"/>
    <dgm:cxn modelId="{BBCFCA1F-A890-4E1E-B4BD-484621BDE014}" type="presParOf" srcId="{FE2B3C96-763B-46AA-9F32-9270F7BAE12B}" destId="{0B5BFFE2-7FCD-4D41-8F59-52AEC0F45F9A}" srcOrd="0" destOrd="0" presId="urn:microsoft.com/office/officeart/2005/8/layout/hierarchy6"/>
    <dgm:cxn modelId="{551D59AC-87B0-4A0B-B528-942645DB2DB3}" type="presParOf" srcId="{FE2B3C96-763B-46AA-9F32-9270F7BAE12B}" destId="{218AAFE4-037A-465A-B107-ABCADC28AC9E}" srcOrd="1" destOrd="0" presId="urn:microsoft.com/office/officeart/2005/8/layout/hierarchy6"/>
    <dgm:cxn modelId="{D0A8CE2C-293B-49D6-9AD1-981AD6CE9AE4}" type="presParOf" srcId="{218AAFE4-037A-465A-B107-ABCADC28AC9E}" destId="{19EC1733-CF15-4192-BF00-4DFA44E8147C}" srcOrd="0" destOrd="0" presId="urn:microsoft.com/office/officeart/2005/8/layout/hierarchy6"/>
    <dgm:cxn modelId="{F6C9DC64-B5B1-4152-890D-EC75CBBC144B}" type="presParOf" srcId="{19EC1733-CF15-4192-BF00-4DFA44E8147C}" destId="{B7814254-D7B2-4B1B-8407-F2283B8C71B6}" srcOrd="0" destOrd="0" presId="urn:microsoft.com/office/officeart/2005/8/layout/hierarchy6"/>
    <dgm:cxn modelId="{85591179-4A59-4C52-8432-B12243D91875}" type="presParOf" srcId="{19EC1733-CF15-4192-BF00-4DFA44E8147C}" destId="{56539EDB-E616-4B41-AA17-4D31F7FB93D0}" srcOrd="1" destOrd="0" presId="urn:microsoft.com/office/officeart/2005/8/layout/hierarchy6"/>
    <dgm:cxn modelId="{4D10EF91-1D35-48C8-B476-E9059749F2D3}" type="presParOf" srcId="{56539EDB-E616-4B41-AA17-4D31F7FB93D0}" destId="{A5011729-A74C-43B0-A9FD-9B8D7C2252FC}" srcOrd="0" destOrd="0" presId="urn:microsoft.com/office/officeart/2005/8/layout/hierarchy6"/>
    <dgm:cxn modelId="{A738B0A7-D1DD-4FA7-ACD2-854EB0929A02}" type="presParOf" srcId="{56539EDB-E616-4B41-AA17-4D31F7FB93D0}" destId="{5D052130-4FEA-4A32-B4D4-A96661FBCA5F}" srcOrd="1" destOrd="0" presId="urn:microsoft.com/office/officeart/2005/8/layout/hierarchy6"/>
    <dgm:cxn modelId="{BBE40C37-FFF0-422D-A314-ADD9ADB3C86B}" type="presParOf" srcId="{5D052130-4FEA-4A32-B4D4-A96661FBCA5F}" destId="{10B30652-A73A-4FF9-B460-3C136FA08A50}" srcOrd="0" destOrd="0" presId="urn:microsoft.com/office/officeart/2005/8/layout/hierarchy6"/>
    <dgm:cxn modelId="{70EDBC00-93B6-4662-8FB6-BAE17A3A5708}" type="presParOf" srcId="{5D052130-4FEA-4A32-B4D4-A96661FBCA5F}" destId="{0EC152FB-85E1-43E1-9F9F-1F28C8CC7E7F}" srcOrd="1" destOrd="0" presId="urn:microsoft.com/office/officeart/2005/8/layout/hierarchy6"/>
    <dgm:cxn modelId="{84E2F7AF-E006-4F74-B663-4A64F6AC4C64}" type="presParOf" srcId="{0EC152FB-85E1-43E1-9F9F-1F28C8CC7E7F}" destId="{B81F4D85-5F33-4987-8BCE-DA8A00991B01}" srcOrd="0" destOrd="0" presId="urn:microsoft.com/office/officeart/2005/8/layout/hierarchy6"/>
    <dgm:cxn modelId="{6F438A1A-D259-40DD-B15C-07B75120F1B3}" type="presParOf" srcId="{0EC152FB-85E1-43E1-9F9F-1F28C8CC7E7F}" destId="{B68D2058-8F7F-4EAC-939D-D779959B3091}" srcOrd="1" destOrd="0" presId="urn:microsoft.com/office/officeart/2005/8/layout/hierarchy6"/>
    <dgm:cxn modelId="{887962F6-9D39-49DB-9B51-F5F6D7F9091D}" type="presParOf" srcId="{B68D2058-8F7F-4EAC-939D-D779959B3091}" destId="{AB3FB5FF-A2C5-478F-A45B-1EB6550CE0E7}" srcOrd="0" destOrd="0" presId="urn:microsoft.com/office/officeart/2005/8/layout/hierarchy6"/>
    <dgm:cxn modelId="{2D54CB4A-555F-40DE-971C-B9958CCE50DD}" type="presParOf" srcId="{B68D2058-8F7F-4EAC-939D-D779959B3091}" destId="{F1986278-7F7A-4BC8-8366-53D3D31FF135}" srcOrd="1" destOrd="0" presId="urn:microsoft.com/office/officeart/2005/8/layout/hierarchy6"/>
    <dgm:cxn modelId="{09876655-FF51-4639-A423-8572D27483CE}" type="presParOf" srcId="{0EC152FB-85E1-43E1-9F9F-1F28C8CC7E7F}" destId="{33C78128-41AF-4A96-9936-BA0BD72DBE68}" srcOrd="2" destOrd="0" presId="urn:microsoft.com/office/officeart/2005/8/layout/hierarchy6"/>
    <dgm:cxn modelId="{20B9940F-7137-44E7-8E1D-CC46079DDBFD}" type="presParOf" srcId="{0EC152FB-85E1-43E1-9F9F-1F28C8CC7E7F}" destId="{C9687005-12F1-455D-83BF-D844A9BE2C4D}" srcOrd="3" destOrd="0" presId="urn:microsoft.com/office/officeart/2005/8/layout/hierarchy6"/>
    <dgm:cxn modelId="{6848E2D1-9EC6-4C9C-AD9D-09F6185A7900}" type="presParOf" srcId="{C9687005-12F1-455D-83BF-D844A9BE2C4D}" destId="{AF933844-0408-4218-95CA-EBDA1B7A72CD}" srcOrd="0" destOrd="0" presId="urn:microsoft.com/office/officeart/2005/8/layout/hierarchy6"/>
    <dgm:cxn modelId="{A36A0BEA-7D31-4D32-839A-02621F49D14F}" type="presParOf" srcId="{C9687005-12F1-455D-83BF-D844A9BE2C4D}" destId="{7282B92D-A1AF-4D13-A096-F4D700B99B56}" srcOrd="1" destOrd="0" presId="urn:microsoft.com/office/officeart/2005/8/layout/hierarchy6"/>
    <dgm:cxn modelId="{F8CD76F7-E4E2-40F1-90F5-E198FD8D50B4}" type="presParOf" srcId="{56539EDB-E616-4B41-AA17-4D31F7FB93D0}" destId="{F1F20181-A2AE-4D45-8DE5-18C6D0DD8212}" srcOrd="2" destOrd="0" presId="urn:microsoft.com/office/officeart/2005/8/layout/hierarchy6"/>
    <dgm:cxn modelId="{372B0B10-F004-4A2C-B60A-B2E2B0A8B410}" type="presParOf" srcId="{56539EDB-E616-4B41-AA17-4D31F7FB93D0}" destId="{034DFDB3-0D4F-4D07-AA8A-04EFB9779C98}" srcOrd="3" destOrd="0" presId="urn:microsoft.com/office/officeart/2005/8/layout/hierarchy6"/>
    <dgm:cxn modelId="{A15C8B5B-A52A-4D8F-B248-AF792D6D3D2B}" type="presParOf" srcId="{034DFDB3-0D4F-4D07-AA8A-04EFB9779C98}" destId="{24C5545F-0387-4703-B899-8C36A762A4CA}" srcOrd="0" destOrd="0" presId="urn:microsoft.com/office/officeart/2005/8/layout/hierarchy6"/>
    <dgm:cxn modelId="{6EAC9A40-37C2-4B90-BE01-678D32261047}" type="presParOf" srcId="{034DFDB3-0D4F-4D07-AA8A-04EFB9779C98}" destId="{B6422C4B-B4F3-4B7B-968A-F1BCDD841329}" srcOrd="1" destOrd="0" presId="urn:microsoft.com/office/officeart/2005/8/layout/hierarchy6"/>
    <dgm:cxn modelId="{132FC249-A872-44A5-B91B-B20CDA9CBB10}" type="presParOf" srcId="{B6422C4B-B4F3-4B7B-968A-F1BCDD841329}" destId="{D423AFA3-5C8E-4A2D-9FCE-9AD49B5C45ED}" srcOrd="0" destOrd="0" presId="urn:microsoft.com/office/officeart/2005/8/layout/hierarchy6"/>
    <dgm:cxn modelId="{0258BB04-9718-4D21-975A-BF0D6A5A1E3F}" type="presParOf" srcId="{B6422C4B-B4F3-4B7B-968A-F1BCDD841329}" destId="{A80756B5-15E8-4672-818C-49E041212541}" srcOrd="1" destOrd="0" presId="urn:microsoft.com/office/officeart/2005/8/layout/hierarchy6"/>
    <dgm:cxn modelId="{D6031E70-2C5F-4695-8E93-31FEDD5D6699}" type="presParOf" srcId="{A80756B5-15E8-4672-818C-49E041212541}" destId="{A9B53043-F056-4A08-A8DD-F58F4D2953DF}" srcOrd="0" destOrd="0" presId="urn:microsoft.com/office/officeart/2005/8/layout/hierarchy6"/>
    <dgm:cxn modelId="{8D0C00F0-F414-4035-8703-66F3A5603C47}" type="presParOf" srcId="{A80756B5-15E8-4672-818C-49E041212541}" destId="{0C1D0990-7660-4FEF-A31D-D6A6E02A9D40}" srcOrd="1" destOrd="0" presId="urn:microsoft.com/office/officeart/2005/8/layout/hierarchy6"/>
    <dgm:cxn modelId="{CF5A4CC0-047C-4029-978A-8BC5CDC9014F}" type="presParOf" srcId="{56539EDB-E616-4B41-AA17-4D31F7FB93D0}" destId="{E8577D25-C249-4596-A85D-4DD2863EBB47}" srcOrd="4" destOrd="0" presId="urn:microsoft.com/office/officeart/2005/8/layout/hierarchy6"/>
    <dgm:cxn modelId="{A99DAF68-4E33-4A11-83AA-CB11E283AC7D}" type="presParOf" srcId="{56539EDB-E616-4B41-AA17-4D31F7FB93D0}" destId="{3AD4BAC6-9CAF-46C4-82DC-FE53E87C667D}" srcOrd="5" destOrd="0" presId="urn:microsoft.com/office/officeart/2005/8/layout/hierarchy6"/>
    <dgm:cxn modelId="{18BD93AA-B491-4BE7-9526-527B2E53D8A2}" type="presParOf" srcId="{3AD4BAC6-9CAF-46C4-82DC-FE53E87C667D}" destId="{3F39D1D8-E097-4437-8319-AECB0CFF6CCE}" srcOrd="0" destOrd="0" presId="urn:microsoft.com/office/officeart/2005/8/layout/hierarchy6"/>
    <dgm:cxn modelId="{CD14CD2B-573A-4DE0-ADAF-6F433C95DC85}" type="presParOf" srcId="{3AD4BAC6-9CAF-46C4-82DC-FE53E87C667D}" destId="{7B3C1DB8-67C8-44E2-93CF-0AB4F830B0EF}" srcOrd="1" destOrd="0" presId="urn:microsoft.com/office/officeart/2005/8/layout/hierarchy6"/>
    <dgm:cxn modelId="{C4974998-DEB3-4E39-9631-A1BFEB773580}" type="presParOf" srcId="{7B3C1DB8-67C8-44E2-93CF-0AB4F830B0EF}" destId="{A009EB74-CEAB-446B-A46D-49E2BF39FA95}" srcOrd="0" destOrd="0" presId="urn:microsoft.com/office/officeart/2005/8/layout/hierarchy6"/>
    <dgm:cxn modelId="{893B3BC7-770E-45FB-AED6-B1B3C3A5F0E3}" type="presParOf" srcId="{7B3C1DB8-67C8-44E2-93CF-0AB4F830B0EF}" destId="{D1E81C63-8569-42DD-957C-0C89158F4EB7}" srcOrd="1" destOrd="0" presId="urn:microsoft.com/office/officeart/2005/8/layout/hierarchy6"/>
    <dgm:cxn modelId="{1EBF06B7-1F09-4D15-82F1-EA233E595249}" type="presParOf" srcId="{D1E81C63-8569-42DD-957C-0C89158F4EB7}" destId="{989284A4-2E37-42D1-BF18-196898D4ECAA}" srcOrd="0" destOrd="0" presId="urn:microsoft.com/office/officeart/2005/8/layout/hierarchy6"/>
    <dgm:cxn modelId="{08BE0864-8322-4922-B040-A4394B1346F1}" type="presParOf" srcId="{D1E81C63-8569-42DD-957C-0C89158F4EB7}" destId="{E6226601-514C-459D-AA36-485BF6AC6D2A}" srcOrd="1" destOrd="0" presId="urn:microsoft.com/office/officeart/2005/8/layout/hierarchy6"/>
    <dgm:cxn modelId="{36A2121D-9F65-459A-99FB-998184264BDF}" type="presParOf" srcId="{967FF3C6-06B7-41A2-940C-CFC6E27B294B}" destId="{53586DCE-4EF5-4097-B28B-9B06B0A07C92}" srcOrd="1" destOrd="0" presId="urn:microsoft.com/office/officeart/2005/8/layout/hierarchy6"/>
    <dgm:cxn modelId="{78E982D7-398F-4E39-B034-587494D81095}" type="presParOf" srcId="{53586DCE-4EF5-4097-B28B-9B06B0A07C92}" destId="{8CCBC3BD-BD70-4427-BABB-7E5EAE93D16E}" srcOrd="0" destOrd="0" presId="urn:microsoft.com/office/officeart/2005/8/layout/hierarchy6"/>
    <dgm:cxn modelId="{DC274EC0-CF78-4DD7-9F85-4A03FC875BD8}" type="presParOf" srcId="{8CCBC3BD-BD70-4427-BABB-7E5EAE93D16E}" destId="{0091BBCB-15BF-4E9E-8F88-740223608689}" srcOrd="0" destOrd="0" presId="urn:microsoft.com/office/officeart/2005/8/layout/hierarchy6"/>
    <dgm:cxn modelId="{FACCB31C-42BE-4B30-B6B1-0C7BEBCF6E9F}" type="presParOf" srcId="{8CCBC3BD-BD70-4427-BABB-7E5EAE93D16E}" destId="{F8994A33-7388-4D33-8CFA-0F1487E13F10}" srcOrd="1" destOrd="0" presId="urn:microsoft.com/office/officeart/2005/8/layout/hierarchy6"/>
    <dgm:cxn modelId="{686A6A65-DF58-4B93-82DF-7C54F3B965B5}" type="presParOf" srcId="{53586DCE-4EF5-4097-B28B-9B06B0A07C92}" destId="{66D09DDC-B370-42EF-BF8F-C55F2FEEE734}" srcOrd="1" destOrd="0" presId="urn:microsoft.com/office/officeart/2005/8/layout/hierarchy6"/>
    <dgm:cxn modelId="{5075694C-F9EC-42C1-998E-CF6382A57133}" type="presParOf" srcId="{66D09DDC-B370-42EF-BF8F-C55F2FEEE734}" destId="{2F168A68-A8DA-4649-BEB3-09569565CC70}" srcOrd="0" destOrd="0" presId="urn:microsoft.com/office/officeart/2005/8/layout/hierarchy6"/>
    <dgm:cxn modelId="{6F24D16C-D19A-40AA-B042-AB170F4251EC}" type="presParOf" srcId="{53586DCE-4EF5-4097-B28B-9B06B0A07C92}" destId="{7E9D4832-F5DF-4F44-8A3B-6DE4570BAD10}" srcOrd="2" destOrd="0" presId="urn:microsoft.com/office/officeart/2005/8/layout/hierarchy6"/>
    <dgm:cxn modelId="{37F2978B-09FA-45B3-AB8F-3092F7124762}" type="presParOf" srcId="{7E9D4832-F5DF-4F44-8A3B-6DE4570BAD10}" destId="{964BE38D-77D0-4212-8DB2-713C8EEA1EAB}" srcOrd="0" destOrd="0" presId="urn:microsoft.com/office/officeart/2005/8/layout/hierarchy6"/>
    <dgm:cxn modelId="{FCF595AB-AC45-45F5-A07B-C008E16D4FF8}" type="presParOf" srcId="{7E9D4832-F5DF-4F44-8A3B-6DE4570BAD10}" destId="{C2D71B77-60D8-4734-8FE6-99A82F9C2A33}" srcOrd="1" destOrd="0" presId="urn:microsoft.com/office/officeart/2005/8/layout/hierarchy6"/>
    <dgm:cxn modelId="{87E39B5D-58CC-4220-8E89-6A71C851EC18}" type="presParOf" srcId="{53586DCE-4EF5-4097-B28B-9B06B0A07C92}" destId="{00D5B211-DFDC-456E-AB86-FD0FC21F80B8}" srcOrd="3" destOrd="0" presId="urn:microsoft.com/office/officeart/2005/8/layout/hierarchy6"/>
    <dgm:cxn modelId="{D51AD2B5-2CD3-46A2-A1A0-ED6C0B3D9DA5}" type="presParOf" srcId="{00D5B211-DFDC-456E-AB86-FD0FC21F80B8}" destId="{DA94FC93-0158-4652-BB0D-1A4525CF34E6}" srcOrd="0" destOrd="0" presId="urn:microsoft.com/office/officeart/2005/8/layout/hierarchy6"/>
    <dgm:cxn modelId="{6DED89F8-138E-47BF-91AF-215261D4FE97}" type="presParOf" srcId="{53586DCE-4EF5-4097-B28B-9B06B0A07C92}" destId="{07671347-A3A2-4292-A614-BE82CDD5E537}" srcOrd="4" destOrd="0" presId="urn:microsoft.com/office/officeart/2005/8/layout/hierarchy6"/>
    <dgm:cxn modelId="{2CED3EFC-B876-4E47-B60A-10B61EDAFD8E}" type="presParOf" srcId="{07671347-A3A2-4292-A614-BE82CDD5E537}" destId="{A2BF0996-473E-45C2-B0D2-C00076C29A8F}" srcOrd="0" destOrd="0" presId="urn:microsoft.com/office/officeart/2005/8/layout/hierarchy6"/>
    <dgm:cxn modelId="{3B4F7D04-B24F-4267-A204-BCE736E9B833}" type="presParOf" srcId="{07671347-A3A2-4292-A614-BE82CDD5E537}" destId="{37CF462C-BE41-4AEF-AFF7-DF7DB0399B02}" srcOrd="1" destOrd="0" presId="urn:microsoft.com/office/officeart/2005/8/layout/hierarchy6"/>
    <dgm:cxn modelId="{D4611FA9-5841-45B2-8EC6-52C541D97E64}" type="presParOf" srcId="{53586DCE-4EF5-4097-B28B-9B06B0A07C92}" destId="{97EB6801-2730-412E-ADFB-B95706B56FB4}" srcOrd="5" destOrd="0" presId="urn:microsoft.com/office/officeart/2005/8/layout/hierarchy6"/>
    <dgm:cxn modelId="{D7CA2D75-A2DD-4A3E-BF87-1EDDDF77DA52}" type="presParOf" srcId="{97EB6801-2730-412E-ADFB-B95706B56FB4}" destId="{85864EE0-959A-4D5A-A2DF-87EFC5E6E57A}" srcOrd="0" destOrd="0" presId="urn:microsoft.com/office/officeart/2005/8/layout/hierarchy6"/>
    <dgm:cxn modelId="{ADFB90AA-E855-4049-9078-A1861E040CDE}" type="presParOf" srcId="{53586DCE-4EF5-4097-B28B-9B06B0A07C92}" destId="{68BB7D88-88B2-4477-A6E9-C3E52809A10E}" srcOrd="6" destOrd="0" presId="urn:microsoft.com/office/officeart/2005/8/layout/hierarchy6"/>
    <dgm:cxn modelId="{BB2FC339-397C-49F4-A79C-9942FE4ED100}" type="presParOf" srcId="{68BB7D88-88B2-4477-A6E9-C3E52809A10E}" destId="{A142CC50-92D5-4F07-B7C6-A6A95D9123F4}" srcOrd="0" destOrd="0" presId="urn:microsoft.com/office/officeart/2005/8/layout/hierarchy6"/>
    <dgm:cxn modelId="{1302322C-6CBD-4D23-AFE1-6BF8C8A312E3}" type="presParOf" srcId="{68BB7D88-88B2-4477-A6E9-C3E52809A10E}" destId="{795699B1-95F5-4AF1-9125-CD546387C5D1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96BE469-D416-4318-A4A7-C7130074640D}" type="doc">
      <dgm:prSet loTypeId="urn:microsoft.com/office/officeart/2005/8/layout/chevron1" loCatId="process" qsTypeId="urn:microsoft.com/office/officeart/2005/8/quickstyle/simple1" qsCatId="simple" csTypeId="urn:microsoft.com/office/officeart/2005/8/colors/accent3_2" csCatId="accent3" phldr="1"/>
      <dgm:spPr/>
    </dgm:pt>
    <dgm:pt modelId="{CBE04609-5A67-4AC5-AFBD-B520D811461C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fr-BE" noProof="0">
              <a:latin typeface="Calibri" panose="020F0502020204030204" pitchFamily="34" charset="0"/>
            </a:rPr>
            <a:t>jan</a:t>
          </a:r>
        </a:p>
      </dgm:t>
    </dgm:pt>
    <dgm:pt modelId="{8FDFC95E-39FB-4D0A-8DBE-C868989D5A90}" type="parTrans" cxnId="{45DAC6A8-9C16-4890-9F3D-E207462EA6A9}">
      <dgm:prSet/>
      <dgm:spPr/>
      <dgm:t>
        <a:bodyPr/>
        <a:lstStyle/>
        <a:p>
          <a:endParaRPr lang="nl-BE"/>
        </a:p>
      </dgm:t>
    </dgm:pt>
    <dgm:pt modelId="{56A2BDFD-B8FC-46F7-975C-DFE8A27E8EBF}" type="sibTrans" cxnId="{45DAC6A8-9C16-4890-9F3D-E207462EA6A9}">
      <dgm:prSet/>
      <dgm:spPr/>
      <dgm:t>
        <a:bodyPr/>
        <a:lstStyle/>
        <a:p>
          <a:endParaRPr lang="nl-BE"/>
        </a:p>
      </dgm:t>
    </dgm:pt>
    <dgm:pt modelId="{025B89B3-7D6B-4955-A795-D6B71FA70C3D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fr-BE" noProof="0" dirty="0" err="1" smtClean="0">
              <a:latin typeface="Calibri" panose="020F0502020204030204" pitchFamily="34" charset="0"/>
            </a:rPr>
            <a:t>feb</a:t>
          </a:r>
          <a:endParaRPr lang="fr-BE" noProof="0" dirty="0">
            <a:latin typeface="Calibri" panose="020F0502020204030204" pitchFamily="34" charset="0"/>
          </a:endParaRPr>
        </a:p>
      </dgm:t>
    </dgm:pt>
    <dgm:pt modelId="{DB182AA1-37EC-447E-9D48-27DBB3BDB62C}" type="parTrans" cxnId="{F606B834-B709-41A5-A44E-4879DB302A95}">
      <dgm:prSet/>
      <dgm:spPr/>
      <dgm:t>
        <a:bodyPr/>
        <a:lstStyle/>
        <a:p>
          <a:endParaRPr lang="nl-BE"/>
        </a:p>
      </dgm:t>
    </dgm:pt>
    <dgm:pt modelId="{BB364189-0131-4ECB-80A0-62FC1407DF68}" type="sibTrans" cxnId="{F606B834-B709-41A5-A44E-4879DB302A95}">
      <dgm:prSet/>
      <dgm:spPr/>
      <dgm:t>
        <a:bodyPr/>
        <a:lstStyle/>
        <a:p>
          <a:endParaRPr lang="nl-BE"/>
        </a:p>
      </dgm:t>
    </dgm:pt>
    <dgm:pt modelId="{4C67EBBE-6E3F-442E-A518-33E8C10753E8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fr-BE" noProof="0" dirty="0" err="1" smtClean="0">
              <a:latin typeface="Calibri" panose="020F0502020204030204" pitchFamily="34" charset="0"/>
            </a:rPr>
            <a:t>maart</a:t>
          </a:r>
          <a:endParaRPr lang="fr-BE" noProof="0" dirty="0">
            <a:latin typeface="Calibri" panose="020F0502020204030204" pitchFamily="34" charset="0"/>
          </a:endParaRPr>
        </a:p>
      </dgm:t>
    </dgm:pt>
    <dgm:pt modelId="{0C3B5505-D35D-42C2-93C3-A40A005FDA9D}" type="parTrans" cxnId="{C5EF5D57-0040-40A3-B130-53FE537EE56F}">
      <dgm:prSet/>
      <dgm:spPr/>
      <dgm:t>
        <a:bodyPr/>
        <a:lstStyle/>
        <a:p>
          <a:endParaRPr lang="nl-BE"/>
        </a:p>
      </dgm:t>
    </dgm:pt>
    <dgm:pt modelId="{88D32C07-EBE7-4CB5-A435-DFC5D14D52FA}" type="sibTrans" cxnId="{C5EF5D57-0040-40A3-B130-53FE537EE56F}">
      <dgm:prSet/>
      <dgm:spPr/>
      <dgm:t>
        <a:bodyPr/>
        <a:lstStyle/>
        <a:p>
          <a:endParaRPr lang="nl-BE"/>
        </a:p>
      </dgm:t>
    </dgm:pt>
    <dgm:pt modelId="{3A6EBE32-7D3A-49DA-AFF5-6A773C8E01F1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fr-BE" noProof="0" dirty="0" err="1" smtClean="0">
              <a:latin typeface="Calibri" panose="020F0502020204030204" pitchFamily="34" charset="0"/>
            </a:rPr>
            <a:t>april</a:t>
          </a:r>
          <a:endParaRPr lang="fr-BE" noProof="0" dirty="0">
            <a:latin typeface="Calibri" panose="020F0502020204030204" pitchFamily="34" charset="0"/>
          </a:endParaRPr>
        </a:p>
      </dgm:t>
    </dgm:pt>
    <dgm:pt modelId="{58FC672F-A8A7-4A50-9780-FBC0AC2946EA}" type="parTrans" cxnId="{B4AEEB50-120D-40B9-8FD2-59BEF1C4DE00}">
      <dgm:prSet/>
      <dgm:spPr/>
      <dgm:t>
        <a:bodyPr/>
        <a:lstStyle/>
        <a:p>
          <a:endParaRPr lang="nl-BE"/>
        </a:p>
      </dgm:t>
    </dgm:pt>
    <dgm:pt modelId="{D7D94820-E758-48D6-959E-52236172EEC9}" type="sibTrans" cxnId="{B4AEEB50-120D-40B9-8FD2-59BEF1C4DE00}">
      <dgm:prSet/>
      <dgm:spPr/>
      <dgm:t>
        <a:bodyPr/>
        <a:lstStyle/>
        <a:p>
          <a:endParaRPr lang="nl-BE"/>
        </a:p>
      </dgm:t>
    </dgm:pt>
    <dgm:pt modelId="{9B472211-122B-4172-B776-EBE867C608AE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fr-BE" noProof="0" dirty="0" err="1" smtClean="0">
              <a:latin typeface="Calibri" panose="020F0502020204030204" pitchFamily="34" charset="0"/>
            </a:rPr>
            <a:t>mei</a:t>
          </a:r>
          <a:endParaRPr lang="fr-BE" noProof="0" dirty="0">
            <a:latin typeface="Calibri" panose="020F0502020204030204" pitchFamily="34" charset="0"/>
          </a:endParaRPr>
        </a:p>
      </dgm:t>
    </dgm:pt>
    <dgm:pt modelId="{34DB52D9-377B-48A4-BDC7-A69F7070CCD0}" type="parTrans" cxnId="{2D6C2458-FE7D-483E-BD78-B3EF14E8EC1F}">
      <dgm:prSet/>
      <dgm:spPr/>
      <dgm:t>
        <a:bodyPr/>
        <a:lstStyle/>
        <a:p>
          <a:endParaRPr lang="nl-BE"/>
        </a:p>
      </dgm:t>
    </dgm:pt>
    <dgm:pt modelId="{64DAF618-3555-40F1-AC60-390D4945B9BC}" type="sibTrans" cxnId="{2D6C2458-FE7D-483E-BD78-B3EF14E8EC1F}">
      <dgm:prSet/>
      <dgm:spPr/>
      <dgm:t>
        <a:bodyPr/>
        <a:lstStyle/>
        <a:p>
          <a:endParaRPr lang="nl-BE"/>
        </a:p>
      </dgm:t>
    </dgm:pt>
    <dgm:pt modelId="{16AC752F-D353-4E4D-AD09-AE9C2865F6AB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fr-BE" noProof="0">
              <a:latin typeface="Calibri" panose="020F0502020204030204" pitchFamily="34" charset="0"/>
            </a:rPr>
            <a:t>jun</a:t>
          </a:r>
        </a:p>
      </dgm:t>
    </dgm:pt>
    <dgm:pt modelId="{38F7FC33-D517-4F21-9B89-B7A22D6B1A83}" type="parTrans" cxnId="{F0EDB8F2-9475-40A4-9B6A-2145E737F52E}">
      <dgm:prSet/>
      <dgm:spPr/>
      <dgm:t>
        <a:bodyPr/>
        <a:lstStyle/>
        <a:p>
          <a:endParaRPr lang="nl-BE"/>
        </a:p>
      </dgm:t>
    </dgm:pt>
    <dgm:pt modelId="{0748ED7C-6A5D-4A6B-90E0-5AD337253ED1}" type="sibTrans" cxnId="{F0EDB8F2-9475-40A4-9B6A-2145E737F52E}">
      <dgm:prSet/>
      <dgm:spPr/>
      <dgm:t>
        <a:bodyPr/>
        <a:lstStyle/>
        <a:p>
          <a:endParaRPr lang="nl-BE"/>
        </a:p>
      </dgm:t>
    </dgm:pt>
    <dgm:pt modelId="{EF1A66FC-A1E3-448A-AB2F-BC7C91245E14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fr-BE" noProof="0">
              <a:latin typeface="Calibri" panose="020F0502020204030204" pitchFamily="34" charset="0"/>
            </a:rPr>
            <a:t>jul</a:t>
          </a:r>
        </a:p>
      </dgm:t>
    </dgm:pt>
    <dgm:pt modelId="{5753EA59-B6DE-490B-8FE3-EF1C02E2D667}" type="parTrans" cxnId="{14D0FD3F-B909-4C69-A259-BB25F0EE6E32}">
      <dgm:prSet/>
      <dgm:spPr/>
      <dgm:t>
        <a:bodyPr/>
        <a:lstStyle/>
        <a:p>
          <a:endParaRPr lang="nl-BE"/>
        </a:p>
      </dgm:t>
    </dgm:pt>
    <dgm:pt modelId="{FDE1EC35-61B3-4104-8F81-72AE1D37A4D3}" type="sibTrans" cxnId="{14D0FD3F-B909-4C69-A259-BB25F0EE6E32}">
      <dgm:prSet/>
      <dgm:spPr/>
      <dgm:t>
        <a:bodyPr/>
        <a:lstStyle/>
        <a:p>
          <a:endParaRPr lang="nl-BE"/>
        </a:p>
      </dgm:t>
    </dgm:pt>
    <dgm:pt modelId="{C799BADF-8E41-4FC8-808E-75E56DA744D9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fr-BE" noProof="0" dirty="0" err="1" smtClean="0">
              <a:latin typeface="Calibri" panose="020F0502020204030204" pitchFamily="34" charset="0"/>
            </a:rPr>
            <a:t>aug</a:t>
          </a:r>
          <a:endParaRPr lang="fr-BE" noProof="0" dirty="0">
            <a:latin typeface="Calibri" panose="020F0502020204030204" pitchFamily="34" charset="0"/>
          </a:endParaRPr>
        </a:p>
      </dgm:t>
    </dgm:pt>
    <dgm:pt modelId="{AE303C72-B320-4528-B0FB-5DADCC358638}" type="parTrans" cxnId="{46F547DD-3AEB-41E5-95BD-A0641E658974}">
      <dgm:prSet/>
      <dgm:spPr/>
      <dgm:t>
        <a:bodyPr/>
        <a:lstStyle/>
        <a:p>
          <a:endParaRPr lang="nl-BE"/>
        </a:p>
      </dgm:t>
    </dgm:pt>
    <dgm:pt modelId="{8C156159-D294-4004-8689-B21427F611A1}" type="sibTrans" cxnId="{46F547DD-3AEB-41E5-95BD-A0641E658974}">
      <dgm:prSet/>
      <dgm:spPr/>
      <dgm:t>
        <a:bodyPr/>
        <a:lstStyle/>
        <a:p>
          <a:endParaRPr lang="nl-BE"/>
        </a:p>
      </dgm:t>
    </dgm:pt>
    <dgm:pt modelId="{8E23ABAC-36F3-4C68-B229-F87F1B63798B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fr-BE" noProof="0">
              <a:latin typeface="Calibri" panose="020F0502020204030204" pitchFamily="34" charset="0"/>
            </a:rPr>
            <a:t>sept</a:t>
          </a:r>
        </a:p>
      </dgm:t>
    </dgm:pt>
    <dgm:pt modelId="{D695EC85-6527-4A8E-83A5-872CF22696E7}" type="parTrans" cxnId="{E11A4561-C3DA-42AD-86FA-1B0E8FA20AEE}">
      <dgm:prSet/>
      <dgm:spPr/>
      <dgm:t>
        <a:bodyPr/>
        <a:lstStyle/>
        <a:p>
          <a:endParaRPr lang="nl-BE"/>
        </a:p>
      </dgm:t>
    </dgm:pt>
    <dgm:pt modelId="{0E40E95D-CC75-4E97-8866-FE085B6299BC}" type="sibTrans" cxnId="{E11A4561-C3DA-42AD-86FA-1B0E8FA20AEE}">
      <dgm:prSet/>
      <dgm:spPr/>
      <dgm:t>
        <a:bodyPr/>
        <a:lstStyle/>
        <a:p>
          <a:endParaRPr lang="nl-BE"/>
        </a:p>
      </dgm:t>
    </dgm:pt>
    <dgm:pt modelId="{14BD3543-B160-4DBD-8563-01F2803C45B6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fr-BE" noProof="0" dirty="0" err="1" smtClean="0">
              <a:latin typeface="Calibri" panose="020F0502020204030204" pitchFamily="34" charset="0"/>
            </a:rPr>
            <a:t>okt</a:t>
          </a:r>
          <a:endParaRPr lang="fr-BE" noProof="0" dirty="0">
            <a:latin typeface="Calibri" panose="020F0502020204030204" pitchFamily="34" charset="0"/>
          </a:endParaRPr>
        </a:p>
      </dgm:t>
    </dgm:pt>
    <dgm:pt modelId="{A0E1D57D-DADB-436C-A6F0-EDD72258892E}" type="parTrans" cxnId="{6F04052B-1926-44A9-B2AB-52B429A4E4F7}">
      <dgm:prSet/>
      <dgm:spPr/>
      <dgm:t>
        <a:bodyPr/>
        <a:lstStyle/>
        <a:p>
          <a:endParaRPr lang="nl-BE"/>
        </a:p>
      </dgm:t>
    </dgm:pt>
    <dgm:pt modelId="{56232346-A3DB-4E59-8329-93D93CCEBD06}" type="sibTrans" cxnId="{6F04052B-1926-44A9-B2AB-52B429A4E4F7}">
      <dgm:prSet/>
      <dgm:spPr/>
      <dgm:t>
        <a:bodyPr/>
        <a:lstStyle/>
        <a:p>
          <a:endParaRPr lang="nl-BE"/>
        </a:p>
      </dgm:t>
    </dgm:pt>
    <dgm:pt modelId="{1FD45DAF-8243-4D8D-8655-B0E106B41A48}">
      <dgm:prSet phldrT="[Text]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fr-BE" noProof="0">
              <a:latin typeface="Calibri" panose="020F0502020204030204" pitchFamily="34" charset="0"/>
            </a:rPr>
            <a:t>nov</a:t>
          </a:r>
        </a:p>
      </dgm:t>
    </dgm:pt>
    <dgm:pt modelId="{9F42AE88-0DC8-4373-B45A-E2965896976C}" type="parTrans" cxnId="{897BADB3-9597-4068-9A60-28D9594D9643}">
      <dgm:prSet/>
      <dgm:spPr/>
      <dgm:t>
        <a:bodyPr/>
        <a:lstStyle/>
        <a:p>
          <a:endParaRPr lang="nl-BE"/>
        </a:p>
      </dgm:t>
    </dgm:pt>
    <dgm:pt modelId="{CD046BA0-5A24-426A-8FBC-6355B2C4AD93}" type="sibTrans" cxnId="{897BADB3-9597-4068-9A60-28D9594D9643}">
      <dgm:prSet/>
      <dgm:spPr/>
      <dgm:t>
        <a:bodyPr/>
        <a:lstStyle/>
        <a:p>
          <a:endParaRPr lang="nl-BE"/>
        </a:p>
      </dgm:t>
    </dgm:pt>
    <dgm:pt modelId="{21A9E037-593E-4741-9D69-7939D1E97174}">
      <dgm:prSet phldrT="[Text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fr-BE" noProof="0" dirty="0" err="1" smtClean="0">
              <a:latin typeface="Calibri" panose="020F0502020204030204" pitchFamily="34" charset="0"/>
            </a:rPr>
            <a:t>dec</a:t>
          </a:r>
          <a:endParaRPr lang="fr-BE" noProof="0" dirty="0">
            <a:latin typeface="Calibri" panose="020F0502020204030204" pitchFamily="34" charset="0"/>
          </a:endParaRPr>
        </a:p>
      </dgm:t>
    </dgm:pt>
    <dgm:pt modelId="{9A41DDB4-2E01-4626-9E1E-47C168B2A399}" type="parTrans" cxnId="{749A7519-5DE3-41D4-817A-49CC0E768E9C}">
      <dgm:prSet/>
      <dgm:spPr/>
      <dgm:t>
        <a:bodyPr/>
        <a:lstStyle/>
        <a:p>
          <a:endParaRPr lang="nl-BE"/>
        </a:p>
      </dgm:t>
    </dgm:pt>
    <dgm:pt modelId="{C4408C2E-BB35-4F6B-84E2-A0CC66A11AD2}" type="sibTrans" cxnId="{749A7519-5DE3-41D4-817A-49CC0E768E9C}">
      <dgm:prSet/>
      <dgm:spPr/>
      <dgm:t>
        <a:bodyPr/>
        <a:lstStyle/>
        <a:p>
          <a:endParaRPr lang="nl-BE"/>
        </a:p>
      </dgm:t>
    </dgm:pt>
    <dgm:pt modelId="{DBA6D887-A4C9-40E3-B894-AFA512B1F809}" type="pres">
      <dgm:prSet presAssocID="{F96BE469-D416-4318-A4A7-C7130074640D}" presName="Name0" presStyleCnt="0">
        <dgm:presLayoutVars>
          <dgm:dir/>
          <dgm:animLvl val="lvl"/>
          <dgm:resizeHandles val="exact"/>
        </dgm:presLayoutVars>
      </dgm:prSet>
      <dgm:spPr/>
    </dgm:pt>
    <dgm:pt modelId="{788DE3CF-7D49-401D-BDEA-3DFC8F54247B}" type="pres">
      <dgm:prSet presAssocID="{CBE04609-5A67-4AC5-AFBD-B520D811461C}" presName="parTxOnly" presStyleLbl="node1" presStyleIdx="0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11E46B-8272-4106-9437-8875F2273A51}" type="pres">
      <dgm:prSet presAssocID="{56A2BDFD-B8FC-46F7-975C-DFE8A27E8EBF}" presName="parTxOnlySpace" presStyleCnt="0"/>
      <dgm:spPr/>
    </dgm:pt>
    <dgm:pt modelId="{DE21F942-842B-43E2-97D3-81D1FB91898F}" type="pres">
      <dgm:prSet presAssocID="{025B89B3-7D6B-4955-A795-D6B71FA70C3D}" presName="parTxOnly" presStyleLbl="node1" presStyleIdx="1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FD03A8-1AC7-4C49-9DD0-515AD1983C04}" type="pres">
      <dgm:prSet presAssocID="{BB364189-0131-4ECB-80A0-62FC1407DF68}" presName="parTxOnlySpace" presStyleCnt="0"/>
      <dgm:spPr/>
    </dgm:pt>
    <dgm:pt modelId="{B9C780A3-97C4-4451-BBC2-1D797AACD57C}" type="pres">
      <dgm:prSet presAssocID="{4C67EBBE-6E3F-442E-A518-33E8C10753E8}" presName="parTxOnly" presStyleLbl="node1" presStyleIdx="2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B5C640-E658-423E-A9F8-97265A0EC71D}" type="pres">
      <dgm:prSet presAssocID="{88D32C07-EBE7-4CB5-A435-DFC5D14D52FA}" presName="parTxOnlySpace" presStyleCnt="0"/>
      <dgm:spPr/>
    </dgm:pt>
    <dgm:pt modelId="{AEADA5EC-98CE-4C05-8E6B-C31D8CCAA042}" type="pres">
      <dgm:prSet presAssocID="{3A6EBE32-7D3A-49DA-AFF5-6A773C8E01F1}" presName="parTxOnly" presStyleLbl="node1" presStyleIdx="3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A6D407-AEDE-4327-8C09-D88544A925C6}" type="pres">
      <dgm:prSet presAssocID="{D7D94820-E758-48D6-959E-52236172EEC9}" presName="parTxOnlySpace" presStyleCnt="0"/>
      <dgm:spPr/>
    </dgm:pt>
    <dgm:pt modelId="{29AEF7DA-66A4-4B53-88BA-54B504EB0BB3}" type="pres">
      <dgm:prSet presAssocID="{9B472211-122B-4172-B776-EBE867C608AE}" presName="parTxOnly" presStyleLbl="node1" presStyleIdx="4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313290-0E76-4CA3-B588-D272E5A51C87}" type="pres">
      <dgm:prSet presAssocID="{64DAF618-3555-40F1-AC60-390D4945B9BC}" presName="parTxOnlySpace" presStyleCnt="0"/>
      <dgm:spPr/>
    </dgm:pt>
    <dgm:pt modelId="{CF0F3D15-087A-4F7F-BEB7-779C1049B034}" type="pres">
      <dgm:prSet presAssocID="{16AC752F-D353-4E4D-AD09-AE9C2865F6AB}" presName="parTxOnly" presStyleLbl="node1" presStyleIdx="5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4558743-00A6-4242-9F8D-AB6AA33E10FF}" type="pres">
      <dgm:prSet presAssocID="{0748ED7C-6A5D-4A6B-90E0-5AD337253ED1}" presName="parTxOnlySpace" presStyleCnt="0"/>
      <dgm:spPr/>
    </dgm:pt>
    <dgm:pt modelId="{9E211ED4-588A-4814-A996-192DB3EF2CF6}" type="pres">
      <dgm:prSet presAssocID="{EF1A66FC-A1E3-448A-AB2F-BC7C91245E14}" presName="parTxOnly" presStyleLbl="node1" presStyleIdx="6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2B9F62-282D-4BC3-AF0E-042B27D7BEC8}" type="pres">
      <dgm:prSet presAssocID="{FDE1EC35-61B3-4104-8F81-72AE1D37A4D3}" presName="parTxOnlySpace" presStyleCnt="0"/>
      <dgm:spPr/>
    </dgm:pt>
    <dgm:pt modelId="{F71628AC-E528-4A54-9A28-887F7F9AA18A}" type="pres">
      <dgm:prSet presAssocID="{C799BADF-8E41-4FC8-808E-75E56DA744D9}" presName="parTxOnly" presStyleLbl="node1" presStyleIdx="7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000129-4B7B-45B7-8F83-C5C8792DE5CD}" type="pres">
      <dgm:prSet presAssocID="{8C156159-D294-4004-8689-B21427F611A1}" presName="parTxOnlySpace" presStyleCnt="0"/>
      <dgm:spPr/>
    </dgm:pt>
    <dgm:pt modelId="{2A1BC78E-D084-40FF-8C9E-7E25ED6ED565}" type="pres">
      <dgm:prSet presAssocID="{8E23ABAC-36F3-4C68-B229-F87F1B63798B}" presName="parTxOnly" presStyleLbl="node1" presStyleIdx="8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C73AA3-4E91-4682-8886-9DCEB2C7C7C5}" type="pres">
      <dgm:prSet presAssocID="{0E40E95D-CC75-4E97-8866-FE085B6299BC}" presName="parTxOnlySpace" presStyleCnt="0"/>
      <dgm:spPr/>
    </dgm:pt>
    <dgm:pt modelId="{D82626C5-8BD0-4DA8-8FAB-B6F6D30B2541}" type="pres">
      <dgm:prSet presAssocID="{14BD3543-B160-4DBD-8563-01F2803C45B6}" presName="parTxOnly" presStyleLbl="node1" presStyleIdx="9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0A7402-C40D-4677-B4FD-CAA5EE9D7FE9}" type="pres">
      <dgm:prSet presAssocID="{56232346-A3DB-4E59-8329-93D93CCEBD06}" presName="parTxOnlySpace" presStyleCnt="0"/>
      <dgm:spPr/>
    </dgm:pt>
    <dgm:pt modelId="{CCA54ECF-1F7B-46FD-AC58-ED54FE1EC570}" type="pres">
      <dgm:prSet presAssocID="{1FD45DAF-8243-4D8D-8655-B0E106B41A48}" presName="parTxOnly" presStyleLbl="node1" presStyleIdx="10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23DB11-72AC-46BE-95CF-44D325716837}" type="pres">
      <dgm:prSet presAssocID="{CD046BA0-5A24-426A-8FBC-6355B2C4AD93}" presName="parTxOnlySpace" presStyleCnt="0"/>
      <dgm:spPr/>
    </dgm:pt>
    <dgm:pt modelId="{D96221DE-074C-4974-9DDE-ADFECD0322AA}" type="pres">
      <dgm:prSet presAssocID="{21A9E037-593E-4741-9D69-7939D1E97174}" presName="parTxOnly" presStyleLbl="node1" presStyleIdx="11" presStyleCnt="1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1A4561-C3DA-42AD-86FA-1B0E8FA20AEE}" srcId="{F96BE469-D416-4318-A4A7-C7130074640D}" destId="{8E23ABAC-36F3-4C68-B229-F87F1B63798B}" srcOrd="8" destOrd="0" parTransId="{D695EC85-6527-4A8E-83A5-872CF22696E7}" sibTransId="{0E40E95D-CC75-4E97-8866-FE085B6299BC}"/>
    <dgm:cxn modelId="{B4E1E085-3348-4738-879B-3EAA3B01B253}" type="presOf" srcId="{9B472211-122B-4172-B776-EBE867C608AE}" destId="{29AEF7DA-66A4-4B53-88BA-54B504EB0BB3}" srcOrd="0" destOrd="0" presId="urn:microsoft.com/office/officeart/2005/8/layout/chevron1"/>
    <dgm:cxn modelId="{FC9DBD0F-A56C-462D-825C-CF52D85C3C96}" type="presOf" srcId="{CBE04609-5A67-4AC5-AFBD-B520D811461C}" destId="{788DE3CF-7D49-401D-BDEA-3DFC8F54247B}" srcOrd="0" destOrd="0" presId="urn:microsoft.com/office/officeart/2005/8/layout/chevron1"/>
    <dgm:cxn modelId="{B5C2A31E-2BCC-4113-B47D-453AD389BDBF}" type="presOf" srcId="{8E23ABAC-36F3-4C68-B229-F87F1B63798B}" destId="{2A1BC78E-D084-40FF-8C9E-7E25ED6ED565}" srcOrd="0" destOrd="0" presId="urn:microsoft.com/office/officeart/2005/8/layout/chevron1"/>
    <dgm:cxn modelId="{14D0FD3F-B909-4C69-A259-BB25F0EE6E32}" srcId="{F96BE469-D416-4318-A4A7-C7130074640D}" destId="{EF1A66FC-A1E3-448A-AB2F-BC7C91245E14}" srcOrd="6" destOrd="0" parTransId="{5753EA59-B6DE-490B-8FE3-EF1C02E2D667}" sibTransId="{FDE1EC35-61B3-4104-8F81-72AE1D37A4D3}"/>
    <dgm:cxn modelId="{EB13F35D-FDC3-488A-9BD9-D379DEDCE1EE}" type="presOf" srcId="{C799BADF-8E41-4FC8-808E-75E56DA744D9}" destId="{F71628AC-E528-4A54-9A28-887F7F9AA18A}" srcOrd="0" destOrd="0" presId="urn:microsoft.com/office/officeart/2005/8/layout/chevron1"/>
    <dgm:cxn modelId="{D6C6B56C-C5CE-4AB7-821B-2AB6509935DC}" type="presOf" srcId="{3A6EBE32-7D3A-49DA-AFF5-6A773C8E01F1}" destId="{AEADA5EC-98CE-4C05-8E6B-C31D8CCAA042}" srcOrd="0" destOrd="0" presId="urn:microsoft.com/office/officeart/2005/8/layout/chevron1"/>
    <dgm:cxn modelId="{2D6C2458-FE7D-483E-BD78-B3EF14E8EC1F}" srcId="{F96BE469-D416-4318-A4A7-C7130074640D}" destId="{9B472211-122B-4172-B776-EBE867C608AE}" srcOrd="4" destOrd="0" parTransId="{34DB52D9-377B-48A4-BDC7-A69F7070CCD0}" sibTransId="{64DAF618-3555-40F1-AC60-390D4945B9BC}"/>
    <dgm:cxn modelId="{F606B834-B709-41A5-A44E-4879DB302A95}" srcId="{F96BE469-D416-4318-A4A7-C7130074640D}" destId="{025B89B3-7D6B-4955-A795-D6B71FA70C3D}" srcOrd="1" destOrd="0" parTransId="{DB182AA1-37EC-447E-9D48-27DBB3BDB62C}" sibTransId="{BB364189-0131-4ECB-80A0-62FC1407DF68}"/>
    <dgm:cxn modelId="{6287278F-E9F5-40EF-BF49-C45E52A009DB}" type="presOf" srcId="{16AC752F-D353-4E4D-AD09-AE9C2865F6AB}" destId="{CF0F3D15-087A-4F7F-BEB7-779C1049B034}" srcOrd="0" destOrd="0" presId="urn:microsoft.com/office/officeart/2005/8/layout/chevron1"/>
    <dgm:cxn modelId="{897BADB3-9597-4068-9A60-28D9594D9643}" srcId="{F96BE469-D416-4318-A4A7-C7130074640D}" destId="{1FD45DAF-8243-4D8D-8655-B0E106B41A48}" srcOrd="10" destOrd="0" parTransId="{9F42AE88-0DC8-4373-B45A-E2965896976C}" sibTransId="{CD046BA0-5A24-426A-8FBC-6355B2C4AD93}"/>
    <dgm:cxn modelId="{AB128211-9AF3-4738-AFD0-BCCB638D1A49}" type="presOf" srcId="{1FD45DAF-8243-4D8D-8655-B0E106B41A48}" destId="{CCA54ECF-1F7B-46FD-AC58-ED54FE1EC570}" srcOrd="0" destOrd="0" presId="urn:microsoft.com/office/officeart/2005/8/layout/chevron1"/>
    <dgm:cxn modelId="{13CECA40-373B-4F1F-84D9-8DD103ACFC95}" type="presOf" srcId="{14BD3543-B160-4DBD-8563-01F2803C45B6}" destId="{D82626C5-8BD0-4DA8-8FAB-B6F6D30B2541}" srcOrd="0" destOrd="0" presId="urn:microsoft.com/office/officeart/2005/8/layout/chevron1"/>
    <dgm:cxn modelId="{749A7519-5DE3-41D4-817A-49CC0E768E9C}" srcId="{F96BE469-D416-4318-A4A7-C7130074640D}" destId="{21A9E037-593E-4741-9D69-7939D1E97174}" srcOrd="11" destOrd="0" parTransId="{9A41DDB4-2E01-4626-9E1E-47C168B2A399}" sibTransId="{C4408C2E-BB35-4F6B-84E2-A0CC66A11AD2}"/>
    <dgm:cxn modelId="{6F04052B-1926-44A9-B2AB-52B429A4E4F7}" srcId="{F96BE469-D416-4318-A4A7-C7130074640D}" destId="{14BD3543-B160-4DBD-8563-01F2803C45B6}" srcOrd="9" destOrd="0" parTransId="{A0E1D57D-DADB-436C-A6F0-EDD72258892E}" sibTransId="{56232346-A3DB-4E59-8329-93D93CCEBD06}"/>
    <dgm:cxn modelId="{C0506D12-36D8-435A-9EC6-7CFE4CDDB744}" type="presOf" srcId="{4C67EBBE-6E3F-442E-A518-33E8C10753E8}" destId="{B9C780A3-97C4-4451-BBC2-1D797AACD57C}" srcOrd="0" destOrd="0" presId="urn:microsoft.com/office/officeart/2005/8/layout/chevron1"/>
    <dgm:cxn modelId="{3A778F25-F824-45E3-8FF1-20CA1D71B813}" type="presOf" srcId="{025B89B3-7D6B-4955-A795-D6B71FA70C3D}" destId="{DE21F942-842B-43E2-97D3-81D1FB91898F}" srcOrd="0" destOrd="0" presId="urn:microsoft.com/office/officeart/2005/8/layout/chevron1"/>
    <dgm:cxn modelId="{C5EF5D57-0040-40A3-B130-53FE537EE56F}" srcId="{F96BE469-D416-4318-A4A7-C7130074640D}" destId="{4C67EBBE-6E3F-442E-A518-33E8C10753E8}" srcOrd="2" destOrd="0" parTransId="{0C3B5505-D35D-42C2-93C3-A40A005FDA9D}" sibTransId="{88D32C07-EBE7-4CB5-A435-DFC5D14D52FA}"/>
    <dgm:cxn modelId="{46F547DD-3AEB-41E5-95BD-A0641E658974}" srcId="{F96BE469-D416-4318-A4A7-C7130074640D}" destId="{C799BADF-8E41-4FC8-808E-75E56DA744D9}" srcOrd="7" destOrd="0" parTransId="{AE303C72-B320-4528-B0FB-5DADCC358638}" sibTransId="{8C156159-D294-4004-8689-B21427F611A1}"/>
    <dgm:cxn modelId="{9F83560B-D4AD-432A-9C20-19E8ACAD713D}" type="presOf" srcId="{EF1A66FC-A1E3-448A-AB2F-BC7C91245E14}" destId="{9E211ED4-588A-4814-A996-192DB3EF2CF6}" srcOrd="0" destOrd="0" presId="urn:microsoft.com/office/officeart/2005/8/layout/chevron1"/>
    <dgm:cxn modelId="{437F57D1-C6FF-471F-AF62-A194BC0310AE}" type="presOf" srcId="{21A9E037-593E-4741-9D69-7939D1E97174}" destId="{D96221DE-074C-4974-9DDE-ADFECD0322AA}" srcOrd="0" destOrd="0" presId="urn:microsoft.com/office/officeart/2005/8/layout/chevron1"/>
    <dgm:cxn modelId="{97B573DC-AA22-4E8E-9A8A-FCB9AB05AD29}" type="presOf" srcId="{F96BE469-D416-4318-A4A7-C7130074640D}" destId="{DBA6D887-A4C9-40E3-B894-AFA512B1F809}" srcOrd="0" destOrd="0" presId="urn:microsoft.com/office/officeart/2005/8/layout/chevron1"/>
    <dgm:cxn modelId="{B4AEEB50-120D-40B9-8FD2-59BEF1C4DE00}" srcId="{F96BE469-D416-4318-A4A7-C7130074640D}" destId="{3A6EBE32-7D3A-49DA-AFF5-6A773C8E01F1}" srcOrd="3" destOrd="0" parTransId="{58FC672F-A8A7-4A50-9780-FBC0AC2946EA}" sibTransId="{D7D94820-E758-48D6-959E-52236172EEC9}"/>
    <dgm:cxn modelId="{45DAC6A8-9C16-4890-9F3D-E207462EA6A9}" srcId="{F96BE469-D416-4318-A4A7-C7130074640D}" destId="{CBE04609-5A67-4AC5-AFBD-B520D811461C}" srcOrd="0" destOrd="0" parTransId="{8FDFC95E-39FB-4D0A-8DBE-C868989D5A90}" sibTransId="{56A2BDFD-B8FC-46F7-975C-DFE8A27E8EBF}"/>
    <dgm:cxn modelId="{F0EDB8F2-9475-40A4-9B6A-2145E737F52E}" srcId="{F96BE469-D416-4318-A4A7-C7130074640D}" destId="{16AC752F-D353-4E4D-AD09-AE9C2865F6AB}" srcOrd="5" destOrd="0" parTransId="{38F7FC33-D517-4F21-9B89-B7A22D6B1A83}" sibTransId="{0748ED7C-6A5D-4A6B-90E0-5AD337253ED1}"/>
    <dgm:cxn modelId="{36AD475D-02AD-4CC5-82BB-50C4BAFC42FC}" type="presParOf" srcId="{DBA6D887-A4C9-40E3-B894-AFA512B1F809}" destId="{788DE3CF-7D49-401D-BDEA-3DFC8F54247B}" srcOrd="0" destOrd="0" presId="urn:microsoft.com/office/officeart/2005/8/layout/chevron1"/>
    <dgm:cxn modelId="{54BC34FB-F8FB-427F-BF87-A8119B4A836B}" type="presParOf" srcId="{DBA6D887-A4C9-40E3-B894-AFA512B1F809}" destId="{2A11E46B-8272-4106-9437-8875F2273A51}" srcOrd="1" destOrd="0" presId="urn:microsoft.com/office/officeart/2005/8/layout/chevron1"/>
    <dgm:cxn modelId="{C658327F-A4DD-44DE-B19B-05978638A975}" type="presParOf" srcId="{DBA6D887-A4C9-40E3-B894-AFA512B1F809}" destId="{DE21F942-842B-43E2-97D3-81D1FB91898F}" srcOrd="2" destOrd="0" presId="urn:microsoft.com/office/officeart/2005/8/layout/chevron1"/>
    <dgm:cxn modelId="{4770E68A-50D3-41F7-B5CB-4457B9654AB0}" type="presParOf" srcId="{DBA6D887-A4C9-40E3-B894-AFA512B1F809}" destId="{2FFD03A8-1AC7-4C49-9DD0-515AD1983C04}" srcOrd="3" destOrd="0" presId="urn:microsoft.com/office/officeart/2005/8/layout/chevron1"/>
    <dgm:cxn modelId="{3FDB1E3C-6D9C-45AB-8547-BAC5D7CDBE0D}" type="presParOf" srcId="{DBA6D887-A4C9-40E3-B894-AFA512B1F809}" destId="{B9C780A3-97C4-4451-BBC2-1D797AACD57C}" srcOrd="4" destOrd="0" presId="urn:microsoft.com/office/officeart/2005/8/layout/chevron1"/>
    <dgm:cxn modelId="{10823E8A-41E1-4F14-85E5-E523CF7564C5}" type="presParOf" srcId="{DBA6D887-A4C9-40E3-B894-AFA512B1F809}" destId="{31B5C640-E658-423E-A9F8-97265A0EC71D}" srcOrd="5" destOrd="0" presId="urn:microsoft.com/office/officeart/2005/8/layout/chevron1"/>
    <dgm:cxn modelId="{1CE55D72-6438-4B72-803C-C6478D89AFA4}" type="presParOf" srcId="{DBA6D887-A4C9-40E3-B894-AFA512B1F809}" destId="{AEADA5EC-98CE-4C05-8E6B-C31D8CCAA042}" srcOrd="6" destOrd="0" presId="urn:microsoft.com/office/officeart/2005/8/layout/chevron1"/>
    <dgm:cxn modelId="{30DCBAC0-E967-4BC0-8C5A-88FBA927DDBD}" type="presParOf" srcId="{DBA6D887-A4C9-40E3-B894-AFA512B1F809}" destId="{E2A6D407-AEDE-4327-8C09-D88544A925C6}" srcOrd="7" destOrd="0" presId="urn:microsoft.com/office/officeart/2005/8/layout/chevron1"/>
    <dgm:cxn modelId="{3D5C5357-242C-4539-A10A-38339083516E}" type="presParOf" srcId="{DBA6D887-A4C9-40E3-B894-AFA512B1F809}" destId="{29AEF7DA-66A4-4B53-88BA-54B504EB0BB3}" srcOrd="8" destOrd="0" presId="urn:microsoft.com/office/officeart/2005/8/layout/chevron1"/>
    <dgm:cxn modelId="{A78CB208-18A0-4BF2-B213-EE0A9528D38C}" type="presParOf" srcId="{DBA6D887-A4C9-40E3-B894-AFA512B1F809}" destId="{A1313290-0E76-4CA3-B588-D272E5A51C87}" srcOrd="9" destOrd="0" presId="urn:microsoft.com/office/officeart/2005/8/layout/chevron1"/>
    <dgm:cxn modelId="{9722903A-BFC9-452E-BBB4-E54B485DD76B}" type="presParOf" srcId="{DBA6D887-A4C9-40E3-B894-AFA512B1F809}" destId="{CF0F3D15-087A-4F7F-BEB7-779C1049B034}" srcOrd="10" destOrd="0" presId="urn:microsoft.com/office/officeart/2005/8/layout/chevron1"/>
    <dgm:cxn modelId="{01A34393-5D1A-4272-898B-826A482F1772}" type="presParOf" srcId="{DBA6D887-A4C9-40E3-B894-AFA512B1F809}" destId="{74558743-00A6-4242-9F8D-AB6AA33E10FF}" srcOrd="11" destOrd="0" presId="urn:microsoft.com/office/officeart/2005/8/layout/chevron1"/>
    <dgm:cxn modelId="{AD4DD3E3-6678-4A30-92F9-C84F1DC5CD89}" type="presParOf" srcId="{DBA6D887-A4C9-40E3-B894-AFA512B1F809}" destId="{9E211ED4-588A-4814-A996-192DB3EF2CF6}" srcOrd="12" destOrd="0" presId="urn:microsoft.com/office/officeart/2005/8/layout/chevron1"/>
    <dgm:cxn modelId="{35033DCE-DE36-4BBE-81F8-08747E5EE839}" type="presParOf" srcId="{DBA6D887-A4C9-40E3-B894-AFA512B1F809}" destId="{932B9F62-282D-4BC3-AF0E-042B27D7BEC8}" srcOrd="13" destOrd="0" presId="urn:microsoft.com/office/officeart/2005/8/layout/chevron1"/>
    <dgm:cxn modelId="{B32C46D0-FEB9-4038-B528-60F3BDFCCD98}" type="presParOf" srcId="{DBA6D887-A4C9-40E3-B894-AFA512B1F809}" destId="{F71628AC-E528-4A54-9A28-887F7F9AA18A}" srcOrd="14" destOrd="0" presId="urn:microsoft.com/office/officeart/2005/8/layout/chevron1"/>
    <dgm:cxn modelId="{D1E3160C-1926-460D-B962-9313A831FE1A}" type="presParOf" srcId="{DBA6D887-A4C9-40E3-B894-AFA512B1F809}" destId="{0B000129-4B7B-45B7-8F83-C5C8792DE5CD}" srcOrd="15" destOrd="0" presId="urn:microsoft.com/office/officeart/2005/8/layout/chevron1"/>
    <dgm:cxn modelId="{F0EF83AC-87FE-4CA0-8484-F4BC78702C79}" type="presParOf" srcId="{DBA6D887-A4C9-40E3-B894-AFA512B1F809}" destId="{2A1BC78E-D084-40FF-8C9E-7E25ED6ED565}" srcOrd="16" destOrd="0" presId="urn:microsoft.com/office/officeart/2005/8/layout/chevron1"/>
    <dgm:cxn modelId="{20E014F5-F94C-4F4D-8095-318CEADC36A5}" type="presParOf" srcId="{DBA6D887-A4C9-40E3-B894-AFA512B1F809}" destId="{5BC73AA3-4E91-4682-8886-9DCEB2C7C7C5}" srcOrd="17" destOrd="0" presId="urn:microsoft.com/office/officeart/2005/8/layout/chevron1"/>
    <dgm:cxn modelId="{0FEF3D88-CED9-4A0A-B6D1-1F964ED3E865}" type="presParOf" srcId="{DBA6D887-A4C9-40E3-B894-AFA512B1F809}" destId="{D82626C5-8BD0-4DA8-8FAB-B6F6D30B2541}" srcOrd="18" destOrd="0" presId="urn:microsoft.com/office/officeart/2005/8/layout/chevron1"/>
    <dgm:cxn modelId="{3FB3942D-439F-4F6D-AAB0-86581C36F40B}" type="presParOf" srcId="{DBA6D887-A4C9-40E3-B894-AFA512B1F809}" destId="{950A7402-C40D-4677-B4FD-CAA5EE9D7FE9}" srcOrd="19" destOrd="0" presId="urn:microsoft.com/office/officeart/2005/8/layout/chevron1"/>
    <dgm:cxn modelId="{9B40BD05-3193-434F-BE14-7372AA5437CD}" type="presParOf" srcId="{DBA6D887-A4C9-40E3-B894-AFA512B1F809}" destId="{CCA54ECF-1F7B-46FD-AC58-ED54FE1EC570}" srcOrd="20" destOrd="0" presId="urn:microsoft.com/office/officeart/2005/8/layout/chevron1"/>
    <dgm:cxn modelId="{E170866A-C3FB-4AFC-808D-E213CA3C6F2F}" type="presParOf" srcId="{DBA6D887-A4C9-40E3-B894-AFA512B1F809}" destId="{2123DB11-72AC-46BE-95CF-44D325716837}" srcOrd="21" destOrd="0" presId="urn:microsoft.com/office/officeart/2005/8/layout/chevron1"/>
    <dgm:cxn modelId="{4286DDA9-F3D1-4944-B8EB-1E9BC0035963}" type="presParOf" srcId="{DBA6D887-A4C9-40E3-B894-AFA512B1F809}" destId="{D96221DE-074C-4974-9DDE-ADFECD0322AA}" srcOrd="22" destOrd="0" presId="urn:microsoft.com/office/officeart/2005/8/layout/chevron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832513B-E23F-40A6-9CD5-D8E983DC727C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35EBFA12-EBC4-44D6-9854-F392E3A83F06}">
      <dgm:prSet phldrT="[Text]"/>
      <dgm:spPr/>
      <dgm:t>
        <a:bodyPr/>
        <a:lstStyle/>
        <a:p>
          <a:pPr algn="ctr"/>
          <a:r>
            <a:rPr lang="nl-NL" b="1" dirty="0" smtClean="0">
              <a:latin typeface="Calibri" panose="020F0502020204030204" pitchFamily="34" charset="0"/>
            </a:rPr>
            <a:t>Dangerous </a:t>
          </a:r>
          <a:r>
            <a:rPr lang="nl-NL" b="1" dirty="0" err="1" smtClean="0">
              <a:latin typeface="Calibri" panose="020F0502020204030204" pitchFamily="34" charset="0"/>
            </a:rPr>
            <a:t>Doers</a:t>
          </a:r>
          <a:endParaRPr lang="nl-NL" b="1" dirty="0" smtClean="0">
            <a:latin typeface="Calibri" panose="020F0502020204030204" pitchFamily="34" charset="0"/>
          </a:endParaRPr>
        </a:p>
        <a:p>
          <a:pPr algn="ctr"/>
          <a:r>
            <a:rPr lang="nl-NL" b="0" dirty="0" smtClean="0">
              <a:latin typeface="Calibri" panose="020F0502020204030204" pitchFamily="34" charset="0"/>
            </a:rPr>
            <a:t>Jongeren</a:t>
          </a:r>
          <a:endParaRPr lang="nl-NL" b="0" dirty="0">
            <a:latin typeface="Calibri" panose="020F0502020204030204" pitchFamily="34" charset="0"/>
          </a:endParaRPr>
        </a:p>
        <a:p>
          <a:pPr algn="ctr"/>
          <a:r>
            <a:rPr lang="nl-NL" b="0" dirty="0">
              <a:latin typeface="Calibri" panose="020F0502020204030204" pitchFamily="34" charset="0"/>
            </a:rPr>
            <a:t>15-24</a:t>
          </a:r>
          <a:endParaRPr lang="fr-FR" b="0" dirty="0">
            <a:latin typeface="Calibri" panose="020F0502020204030204" pitchFamily="34" charset="0"/>
          </a:endParaRPr>
        </a:p>
      </dgm:t>
    </dgm:pt>
    <dgm:pt modelId="{1910FFC1-BB31-4F3E-BFAF-B4101A319FCB}" type="parTrans" cxnId="{58CDFF9A-46FC-4814-A691-5341C232869A}">
      <dgm:prSet/>
      <dgm:spPr/>
      <dgm:t>
        <a:bodyPr/>
        <a:lstStyle/>
        <a:p>
          <a:endParaRPr lang="fr-FR"/>
        </a:p>
      </dgm:t>
    </dgm:pt>
    <dgm:pt modelId="{C76E0A71-CA12-477D-BA18-79F02373597C}" type="sibTrans" cxnId="{58CDFF9A-46FC-4814-A691-5341C232869A}">
      <dgm:prSet/>
      <dgm:spPr/>
      <dgm:t>
        <a:bodyPr/>
        <a:lstStyle/>
        <a:p>
          <a:endParaRPr lang="fr-FR"/>
        </a:p>
      </dgm:t>
    </dgm:pt>
    <dgm:pt modelId="{87BC4022-8EC9-47B8-82D3-D9BABBD47158}">
      <dgm:prSet phldrT="[Text]"/>
      <dgm:spPr/>
      <dgm:t>
        <a:bodyPr/>
        <a:lstStyle/>
        <a:p>
          <a:r>
            <a:rPr lang="nl-NL" b="1" dirty="0" err="1" smtClean="0">
              <a:latin typeface="Calibri" panose="020F0502020204030204" pitchFamily="34" charset="0"/>
            </a:rPr>
            <a:t>Unconsious</a:t>
          </a:r>
          <a:r>
            <a:rPr lang="nl-NL" b="1" dirty="0" smtClean="0">
              <a:latin typeface="Calibri" panose="020F0502020204030204" pitchFamily="34" charset="0"/>
            </a:rPr>
            <a:t> Crossers</a:t>
          </a:r>
        </a:p>
        <a:p>
          <a:r>
            <a:rPr lang="nl-NL" b="0" dirty="0" smtClean="0">
              <a:latin typeface="Calibri" panose="020F0502020204030204" pitchFamily="34" charset="0"/>
            </a:rPr>
            <a:t>Vrouwen</a:t>
          </a:r>
          <a:endParaRPr lang="nl-NL" b="0" dirty="0">
            <a:latin typeface="Calibri" panose="020F0502020204030204" pitchFamily="34" charset="0"/>
          </a:endParaRPr>
        </a:p>
        <a:p>
          <a:r>
            <a:rPr lang="nl-NL" b="0" dirty="0">
              <a:latin typeface="Calibri" panose="020F0502020204030204" pitchFamily="34" charset="0"/>
            </a:rPr>
            <a:t>45-54</a:t>
          </a:r>
        </a:p>
      </dgm:t>
    </dgm:pt>
    <dgm:pt modelId="{005E5C67-DB1E-4330-9E50-EEE198C47F42}" type="parTrans" cxnId="{01AB9549-ADC6-4E4D-AC24-9296D1A2D643}">
      <dgm:prSet/>
      <dgm:spPr/>
      <dgm:t>
        <a:bodyPr/>
        <a:lstStyle/>
        <a:p>
          <a:endParaRPr lang="fr-FR"/>
        </a:p>
      </dgm:t>
    </dgm:pt>
    <dgm:pt modelId="{F281B7AE-C19D-4E72-9A70-F23C425C69D9}" type="sibTrans" cxnId="{01AB9549-ADC6-4E4D-AC24-9296D1A2D643}">
      <dgm:prSet/>
      <dgm:spPr/>
      <dgm:t>
        <a:bodyPr/>
        <a:lstStyle/>
        <a:p>
          <a:endParaRPr lang="fr-FR"/>
        </a:p>
      </dgm:t>
    </dgm:pt>
    <dgm:pt modelId="{DCAE8CD0-3165-4798-9B9D-E55C571A3254}" type="pres">
      <dgm:prSet presAssocID="{F832513B-E23F-40A6-9CD5-D8E983DC727C}" presName="compositeShape" presStyleCnt="0">
        <dgm:presLayoutVars>
          <dgm:chMax val="7"/>
          <dgm:dir/>
          <dgm:resizeHandles val="exact"/>
        </dgm:presLayoutVars>
      </dgm:prSet>
      <dgm:spPr/>
    </dgm:pt>
    <dgm:pt modelId="{E5FE2526-5E77-4092-8E71-0F00CB7AF289}" type="pres">
      <dgm:prSet presAssocID="{35EBFA12-EBC4-44D6-9854-F392E3A83F06}" presName="circ1" presStyleLbl="vennNode1" presStyleIdx="0" presStyleCnt="2"/>
      <dgm:spPr/>
      <dgm:t>
        <a:bodyPr/>
        <a:lstStyle/>
        <a:p>
          <a:endParaRPr lang="en-US"/>
        </a:p>
      </dgm:t>
    </dgm:pt>
    <dgm:pt modelId="{C1DA685E-746C-44A1-96EC-3AC8BA91070B}" type="pres">
      <dgm:prSet presAssocID="{35EBFA12-EBC4-44D6-9854-F392E3A83F06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7A19DF-CA33-4190-ACA0-457A68DFECE0}" type="pres">
      <dgm:prSet presAssocID="{87BC4022-8EC9-47B8-82D3-D9BABBD47158}" presName="circ2" presStyleLbl="vennNode1" presStyleIdx="1" presStyleCnt="2" custLinFactNeighborY="675"/>
      <dgm:spPr/>
      <dgm:t>
        <a:bodyPr/>
        <a:lstStyle/>
        <a:p>
          <a:endParaRPr lang="en-US"/>
        </a:p>
      </dgm:t>
    </dgm:pt>
    <dgm:pt modelId="{8F969DF4-2737-455A-BCF3-E0FDAE4E3D40}" type="pres">
      <dgm:prSet presAssocID="{87BC4022-8EC9-47B8-82D3-D9BABBD47158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23FAA63-7AF2-4212-9EFF-72110530DD76}" type="presOf" srcId="{35EBFA12-EBC4-44D6-9854-F392E3A83F06}" destId="{C1DA685E-746C-44A1-96EC-3AC8BA91070B}" srcOrd="1" destOrd="0" presId="urn:microsoft.com/office/officeart/2005/8/layout/venn1"/>
    <dgm:cxn modelId="{E899383D-F07E-47EC-869F-02ADDD42F4EC}" type="presOf" srcId="{87BC4022-8EC9-47B8-82D3-D9BABBD47158}" destId="{5D7A19DF-CA33-4190-ACA0-457A68DFECE0}" srcOrd="0" destOrd="0" presId="urn:microsoft.com/office/officeart/2005/8/layout/venn1"/>
    <dgm:cxn modelId="{20D9BE74-FC92-4CD4-AC9A-472CFEF8B87D}" type="presOf" srcId="{F832513B-E23F-40A6-9CD5-D8E983DC727C}" destId="{DCAE8CD0-3165-4798-9B9D-E55C571A3254}" srcOrd="0" destOrd="0" presId="urn:microsoft.com/office/officeart/2005/8/layout/venn1"/>
    <dgm:cxn modelId="{998AB232-7FE4-4E35-B5C0-F78A30A32049}" type="presOf" srcId="{87BC4022-8EC9-47B8-82D3-D9BABBD47158}" destId="{8F969DF4-2737-455A-BCF3-E0FDAE4E3D40}" srcOrd="1" destOrd="0" presId="urn:microsoft.com/office/officeart/2005/8/layout/venn1"/>
    <dgm:cxn modelId="{187267FB-AFFF-4597-A87B-4E955E6B747E}" type="presOf" srcId="{35EBFA12-EBC4-44D6-9854-F392E3A83F06}" destId="{E5FE2526-5E77-4092-8E71-0F00CB7AF289}" srcOrd="0" destOrd="0" presId="urn:microsoft.com/office/officeart/2005/8/layout/venn1"/>
    <dgm:cxn modelId="{58CDFF9A-46FC-4814-A691-5341C232869A}" srcId="{F832513B-E23F-40A6-9CD5-D8E983DC727C}" destId="{35EBFA12-EBC4-44D6-9854-F392E3A83F06}" srcOrd="0" destOrd="0" parTransId="{1910FFC1-BB31-4F3E-BFAF-B4101A319FCB}" sibTransId="{C76E0A71-CA12-477D-BA18-79F02373597C}"/>
    <dgm:cxn modelId="{01AB9549-ADC6-4E4D-AC24-9296D1A2D643}" srcId="{F832513B-E23F-40A6-9CD5-D8E983DC727C}" destId="{87BC4022-8EC9-47B8-82D3-D9BABBD47158}" srcOrd="1" destOrd="0" parTransId="{005E5C67-DB1E-4330-9E50-EEE198C47F42}" sibTransId="{F281B7AE-C19D-4E72-9A70-F23C425C69D9}"/>
    <dgm:cxn modelId="{9859AED6-094D-4BF4-936C-6BC7CAC542B7}" type="presParOf" srcId="{DCAE8CD0-3165-4798-9B9D-E55C571A3254}" destId="{E5FE2526-5E77-4092-8E71-0F00CB7AF289}" srcOrd="0" destOrd="0" presId="urn:microsoft.com/office/officeart/2005/8/layout/venn1"/>
    <dgm:cxn modelId="{93CD7510-D448-4305-BC9A-9D65FEEC8FD7}" type="presParOf" srcId="{DCAE8CD0-3165-4798-9B9D-E55C571A3254}" destId="{C1DA685E-746C-44A1-96EC-3AC8BA91070B}" srcOrd="1" destOrd="0" presId="urn:microsoft.com/office/officeart/2005/8/layout/venn1"/>
    <dgm:cxn modelId="{6CB623ED-9FE1-4DCF-A7AD-699A4F4D8053}" type="presParOf" srcId="{DCAE8CD0-3165-4798-9B9D-E55C571A3254}" destId="{5D7A19DF-CA33-4190-ACA0-457A68DFECE0}" srcOrd="2" destOrd="0" presId="urn:microsoft.com/office/officeart/2005/8/layout/venn1"/>
    <dgm:cxn modelId="{E4D33D8F-7674-4B22-8EC3-63C0FC75D7FF}" type="presParOf" srcId="{DCAE8CD0-3165-4798-9B9D-E55C571A3254}" destId="{8F969DF4-2737-455A-BCF3-E0FDAE4E3D40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42CC50-92D5-4F07-B7C6-A6A95D9123F4}">
      <dsp:nvSpPr>
        <dsp:cNvPr id="0" name=""/>
        <dsp:cNvSpPr/>
      </dsp:nvSpPr>
      <dsp:spPr>
        <a:xfrm>
          <a:off x="0" y="3991908"/>
          <a:ext cx="9453830" cy="787511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2000" kern="1200">
              <a:solidFill>
                <a:schemeClr val="bg1"/>
              </a:solidFill>
              <a:latin typeface="Calibri" panose="020F0502020204030204" pitchFamily="34" charset="0"/>
            </a:rPr>
            <a:t>Team</a:t>
          </a:r>
        </a:p>
      </dsp:txBody>
      <dsp:txXfrm>
        <a:off x="0" y="3991908"/>
        <a:ext cx="2836149" cy="787511"/>
      </dsp:txXfrm>
    </dsp:sp>
    <dsp:sp modelId="{A2BF0996-473E-45C2-B0D2-C00076C29A8F}">
      <dsp:nvSpPr>
        <dsp:cNvPr id="0" name=""/>
        <dsp:cNvSpPr/>
      </dsp:nvSpPr>
      <dsp:spPr>
        <a:xfrm>
          <a:off x="0" y="3073144"/>
          <a:ext cx="9453830" cy="787511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2000" kern="1200" dirty="0" err="1">
              <a:solidFill>
                <a:schemeClr val="bg1"/>
              </a:solidFill>
              <a:latin typeface="Calibri" panose="020F0502020204030204" pitchFamily="34" charset="0"/>
            </a:rPr>
            <a:t>Acties</a:t>
          </a:r>
          <a:endParaRPr lang="fr-BE" sz="2000" kern="1200" dirty="0">
            <a:solidFill>
              <a:schemeClr val="bg1"/>
            </a:solidFill>
            <a:latin typeface="Calibri" panose="020F0502020204030204" pitchFamily="34" charset="0"/>
          </a:endParaRPr>
        </a:p>
      </dsp:txBody>
      <dsp:txXfrm>
        <a:off x="0" y="3073144"/>
        <a:ext cx="2836149" cy="787511"/>
      </dsp:txXfrm>
    </dsp:sp>
    <dsp:sp modelId="{964BE38D-77D0-4212-8DB2-713C8EEA1EAB}">
      <dsp:nvSpPr>
        <dsp:cNvPr id="0" name=""/>
        <dsp:cNvSpPr/>
      </dsp:nvSpPr>
      <dsp:spPr>
        <a:xfrm>
          <a:off x="0" y="2154381"/>
          <a:ext cx="9453830" cy="787511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2000" kern="1200" dirty="0" err="1">
              <a:solidFill>
                <a:schemeClr val="bg1"/>
              </a:solidFill>
              <a:latin typeface="Calibri" panose="020F0502020204030204" pitchFamily="34" charset="0"/>
            </a:rPr>
            <a:t>Pijlers</a:t>
          </a:r>
          <a:r>
            <a:rPr lang="fr-BE" sz="2000" kern="1200" dirty="0">
              <a:solidFill>
                <a:schemeClr val="bg1"/>
              </a:solidFill>
              <a:latin typeface="Calibri" panose="020F0502020204030204" pitchFamily="34" charset="0"/>
            </a:rPr>
            <a:t> van de </a:t>
          </a:r>
          <a:r>
            <a:rPr lang="fr-BE" sz="2000" kern="1200" dirty="0" err="1">
              <a:solidFill>
                <a:schemeClr val="bg1"/>
              </a:solidFill>
              <a:latin typeface="Calibri" panose="020F0502020204030204" pitchFamily="34" charset="0"/>
            </a:rPr>
            <a:t>strategie</a:t>
          </a:r>
          <a:endParaRPr lang="fr-BE" sz="2000" kern="1200" dirty="0">
            <a:solidFill>
              <a:schemeClr val="bg1"/>
            </a:solidFill>
            <a:latin typeface="Calibri" panose="020F0502020204030204" pitchFamily="34" charset="0"/>
          </a:endParaRPr>
        </a:p>
      </dsp:txBody>
      <dsp:txXfrm>
        <a:off x="0" y="2154381"/>
        <a:ext cx="2836149" cy="787511"/>
      </dsp:txXfrm>
    </dsp:sp>
    <dsp:sp modelId="{0091BBCB-15BF-4E9E-8F88-740223608689}">
      <dsp:nvSpPr>
        <dsp:cNvPr id="0" name=""/>
        <dsp:cNvSpPr/>
      </dsp:nvSpPr>
      <dsp:spPr>
        <a:xfrm>
          <a:off x="0" y="1235618"/>
          <a:ext cx="9453830" cy="787511"/>
        </a:xfrm>
        <a:prstGeom prst="roundRect">
          <a:avLst>
            <a:gd name="adj" fmla="val 10000"/>
          </a:avLst>
        </a:prstGeom>
        <a:solidFill>
          <a:schemeClr val="bg1">
            <a:lumMod val="6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2000" kern="1200" dirty="0">
              <a:solidFill>
                <a:schemeClr val="bg1"/>
              </a:solidFill>
              <a:latin typeface="Calibri" panose="020F0502020204030204" pitchFamily="34" charset="0"/>
            </a:rPr>
            <a:t>Globale </a:t>
          </a:r>
          <a:r>
            <a:rPr lang="fr-BE" sz="2000" kern="1200" dirty="0" err="1">
              <a:solidFill>
                <a:schemeClr val="bg1"/>
              </a:solidFill>
              <a:latin typeface="Calibri" panose="020F0502020204030204" pitchFamily="34" charset="0"/>
            </a:rPr>
            <a:t>doelstelling</a:t>
          </a:r>
          <a:endParaRPr lang="fr-BE" sz="2000" kern="1200" dirty="0">
            <a:solidFill>
              <a:schemeClr val="bg1"/>
            </a:solidFill>
            <a:latin typeface="Calibri" panose="020F0502020204030204" pitchFamily="34" charset="0"/>
          </a:endParaRPr>
        </a:p>
      </dsp:txBody>
      <dsp:txXfrm>
        <a:off x="0" y="1235618"/>
        <a:ext cx="2836149" cy="787511"/>
      </dsp:txXfrm>
    </dsp:sp>
    <dsp:sp modelId="{B7814254-D7B2-4B1B-8407-F2283B8C71B6}">
      <dsp:nvSpPr>
        <dsp:cNvPr id="0" name=""/>
        <dsp:cNvSpPr/>
      </dsp:nvSpPr>
      <dsp:spPr>
        <a:xfrm>
          <a:off x="4163765" y="990774"/>
          <a:ext cx="4372292" cy="965259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nl-BE" sz="1800" b="0" kern="1200" dirty="0">
              <a:latin typeface="Calibri" panose="020F0502020204030204" pitchFamily="34" charset="0"/>
            </a:rPr>
            <a:t>Gedragswijziging tot stand brengen</a:t>
          </a:r>
        </a:p>
        <a:p>
          <a:pPr lvl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nl-BE" sz="1800" b="0" kern="1200" dirty="0">
              <a:latin typeface="Calibri" panose="020F0502020204030204" pitchFamily="34" charset="0"/>
            </a:rPr>
            <a:t>- Minder spoorlopen</a:t>
          </a:r>
        </a:p>
        <a:p>
          <a:pPr lvl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nl-BE" sz="1800" b="0" kern="1200" dirty="0">
              <a:latin typeface="Calibri" panose="020F0502020204030204" pitchFamily="34" charset="0"/>
            </a:rPr>
            <a:t>- Minder ongevallen aan overwegen</a:t>
          </a:r>
          <a:endParaRPr lang="fr-BE" sz="1800" b="0" kern="1200" dirty="0">
            <a:latin typeface="Calibri" panose="020F0502020204030204" pitchFamily="34" charset="0"/>
          </a:endParaRPr>
        </a:p>
      </dsp:txBody>
      <dsp:txXfrm>
        <a:off x="4192036" y="1019045"/>
        <a:ext cx="4315750" cy="908717"/>
      </dsp:txXfrm>
    </dsp:sp>
    <dsp:sp modelId="{A5011729-A74C-43B0-A9FD-9B8D7C2252FC}">
      <dsp:nvSpPr>
        <dsp:cNvPr id="0" name=""/>
        <dsp:cNvSpPr/>
      </dsp:nvSpPr>
      <dsp:spPr>
        <a:xfrm>
          <a:off x="4169120" y="1956033"/>
          <a:ext cx="2180791" cy="258874"/>
        </a:xfrm>
        <a:custGeom>
          <a:avLst/>
          <a:gdLst/>
          <a:ahLst/>
          <a:cxnLst/>
          <a:rect l="0" t="0" r="0" b="0"/>
          <a:pathLst>
            <a:path>
              <a:moveTo>
                <a:pt x="2180791" y="0"/>
              </a:moveTo>
              <a:lnTo>
                <a:pt x="2180791" y="129437"/>
              </a:lnTo>
              <a:lnTo>
                <a:pt x="0" y="129437"/>
              </a:lnTo>
              <a:lnTo>
                <a:pt x="0" y="258874"/>
              </a:lnTo>
            </a:path>
          </a:pathLst>
        </a:custGeom>
        <a:noFill/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B30652-A73A-4FF9-B460-3C136FA08A50}">
      <dsp:nvSpPr>
        <dsp:cNvPr id="0" name=""/>
        <dsp:cNvSpPr/>
      </dsp:nvSpPr>
      <dsp:spPr>
        <a:xfrm>
          <a:off x="3299673" y="2214908"/>
          <a:ext cx="1738894" cy="656259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b="0" kern="1200" dirty="0" err="1">
              <a:latin typeface="Calibri" panose="020F0502020204030204" pitchFamily="34" charset="0"/>
            </a:rPr>
            <a:t>Sensibilisering</a:t>
          </a:r>
          <a:endParaRPr lang="fr-BE" sz="1800" b="0" kern="1200" dirty="0">
            <a:latin typeface="Calibri" panose="020F0502020204030204" pitchFamily="34" charset="0"/>
          </a:endParaRPr>
        </a:p>
      </dsp:txBody>
      <dsp:txXfrm>
        <a:off x="3318894" y="2234129"/>
        <a:ext cx="1700452" cy="617817"/>
      </dsp:txXfrm>
    </dsp:sp>
    <dsp:sp modelId="{B81F4D85-5F33-4987-8BCE-DA8A00991B01}">
      <dsp:nvSpPr>
        <dsp:cNvPr id="0" name=""/>
        <dsp:cNvSpPr/>
      </dsp:nvSpPr>
      <dsp:spPr>
        <a:xfrm>
          <a:off x="3152896" y="2871167"/>
          <a:ext cx="1016224" cy="279848"/>
        </a:xfrm>
        <a:custGeom>
          <a:avLst/>
          <a:gdLst/>
          <a:ahLst/>
          <a:cxnLst/>
          <a:rect l="0" t="0" r="0" b="0"/>
          <a:pathLst>
            <a:path>
              <a:moveTo>
                <a:pt x="1016224" y="0"/>
              </a:moveTo>
              <a:lnTo>
                <a:pt x="1016224" y="139924"/>
              </a:lnTo>
              <a:lnTo>
                <a:pt x="0" y="139924"/>
              </a:lnTo>
              <a:lnTo>
                <a:pt x="0" y="279848"/>
              </a:lnTo>
            </a:path>
          </a:pathLst>
        </a:custGeom>
        <a:noFill/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3FB5FF-A2C5-478F-A45B-1EB6550CE0E7}">
      <dsp:nvSpPr>
        <dsp:cNvPr id="0" name=""/>
        <dsp:cNvSpPr/>
      </dsp:nvSpPr>
      <dsp:spPr>
        <a:xfrm>
          <a:off x="2584716" y="3151016"/>
          <a:ext cx="1136359" cy="656259"/>
        </a:xfrm>
        <a:prstGeom prst="roundRect">
          <a:avLst>
            <a:gd name="adj" fmla="val 10000"/>
          </a:avLst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600" kern="1200" dirty="0">
              <a:latin typeface="Calibri" panose="020F0502020204030204" pitchFamily="34" charset="0"/>
            </a:rPr>
            <a:t>Campagnes</a:t>
          </a:r>
        </a:p>
      </dsp:txBody>
      <dsp:txXfrm>
        <a:off x="2603937" y="3170237"/>
        <a:ext cx="1097917" cy="617817"/>
      </dsp:txXfrm>
    </dsp:sp>
    <dsp:sp modelId="{33C78128-41AF-4A96-9936-BA0BD72DBE68}">
      <dsp:nvSpPr>
        <dsp:cNvPr id="0" name=""/>
        <dsp:cNvSpPr/>
      </dsp:nvSpPr>
      <dsp:spPr>
        <a:xfrm>
          <a:off x="4169120" y="2871167"/>
          <a:ext cx="464021" cy="2798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9924"/>
              </a:lnTo>
              <a:lnTo>
                <a:pt x="464021" y="139924"/>
              </a:lnTo>
              <a:lnTo>
                <a:pt x="464021" y="279848"/>
              </a:lnTo>
            </a:path>
          </a:pathLst>
        </a:custGeom>
        <a:noFill/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933844-0408-4218-95CA-EBDA1B7A72CD}">
      <dsp:nvSpPr>
        <dsp:cNvPr id="0" name=""/>
        <dsp:cNvSpPr/>
      </dsp:nvSpPr>
      <dsp:spPr>
        <a:xfrm>
          <a:off x="4016392" y="3151016"/>
          <a:ext cx="1233498" cy="656259"/>
        </a:xfrm>
        <a:prstGeom prst="roundRect">
          <a:avLst>
            <a:gd name="adj" fmla="val 10000"/>
          </a:avLst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600" kern="1200" dirty="0" err="1">
              <a:latin typeface="Calibri" panose="020F0502020204030204" pitchFamily="34" charset="0"/>
            </a:rPr>
            <a:t>Acties</a:t>
          </a:r>
          <a:r>
            <a:rPr lang="fr-BE" sz="1600" kern="1200" dirty="0">
              <a:latin typeface="Calibri" panose="020F0502020204030204" pitchFamily="34" charset="0"/>
            </a:rPr>
            <a:t> </a:t>
          </a:r>
          <a:br>
            <a:rPr lang="fr-BE" sz="1600" kern="1200" dirty="0">
              <a:latin typeface="Calibri" panose="020F0502020204030204" pitchFamily="34" charset="0"/>
            </a:rPr>
          </a:br>
          <a:r>
            <a:rPr lang="fr-BE" sz="1600" kern="1200" dirty="0">
              <a:latin typeface="Calibri" panose="020F0502020204030204" pitchFamily="34" charset="0"/>
            </a:rPr>
            <a:t>op het </a:t>
          </a:r>
          <a:r>
            <a:rPr lang="fr-BE" sz="1600" kern="1200" dirty="0" err="1">
              <a:latin typeface="Calibri" panose="020F0502020204030204" pitchFamily="34" charset="0"/>
            </a:rPr>
            <a:t>terrein</a:t>
          </a:r>
          <a:r>
            <a:rPr lang="fr-BE" sz="1600" kern="1200" dirty="0">
              <a:latin typeface="Calibri" panose="020F0502020204030204" pitchFamily="34" charset="0"/>
            </a:rPr>
            <a:t>/PR</a:t>
          </a:r>
          <a:endParaRPr lang="fr-BE" sz="1200" kern="1200" dirty="0">
            <a:latin typeface="Calibri" panose="020F0502020204030204" pitchFamily="34" charset="0"/>
          </a:endParaRPr>
        </a:p>
      </dsp:txBody>
      <dsp:txXfrm>
        <a:off x="4035613" y="3170237"/>
        <a:ext cx="1195056" cy="617817"/>
      </dsp:txXfrm>
    </dsp:sp>
    <dsp:sp modelId="{F1F20181-A2AE-4D45-8DE5-18C6D0DD8212}">
      <dsp:nvSpPr>
        <dsp:cNvPr id="0" name=""/>
        <dsp:cNvSpPr/>
      </dsp:nvSpPr>
      <dsp:spPr>
        <a:xfrm>
          <a:off x="6263295" y="1956033"/>
          <a:ext cx="91440" cy="267839"/>
        </a:xfrm>
        <a:custGeom>
          <a:avLst/>
          <a:gdLst/>
          <a:ahLst/>
          <a:cxnLst/>
          <a:rect l="0" t="0" r="0" b="0"/>
          <a:pathLst>
            <a:path>
              <a:moveTo>
                <a:pt x="86616" y="0"/>
              </a:moveTo>
              <a:lnTo>
                <a:pt x="86616" y="133919"/>
              </a:lnTo>
              <a:lnTo>
                <a:pt x="45720" y="133919"/>
              </a:lnTo>
              <a:lnTo>
                <a:pt x="45720" y="267839"/>
              </a:lnTo>
            </a:path>
          </a:pathLst>
        </a:custGeom>
        <a:noFill/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4C5545F-0387-4703-B899-8C36A762A4CA}">
      <dsp:nvSpPr>
        <dsp:cNvPr id="0" name=""/>
        <dsp:cNvSpPr/>
      </dsp:nvSpPr>
      <dsp:spPr>
        <a:xfrm>
          <a:off x="5658295" y="2223872"/>
          <a:ext cx="1301441" cy="656259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b="0" kern="1200" dirty="0" err="1">
              <a:latin typeface="Calibri" panose="020F0502020204030204" pitchFamily="34" charset="0"/>
            </a:rPr>
            <a:t>Preventie</a:t>
          </a:r>
          <a:endParaRPr lang="fr-BE" sz="1800" b="0" kern="1200" dirty="0">
            <a:latin typeface="Calibri" panose="020F0502020204030204" pitchFamily="34" charset="0"/>
          </a:endParaRPr>
        </a:p>
      </dsp:txBody>
      <dsp:txXfrm>
        <a:off x="5677516" y="2243093"/>
        <a:ext cx="1262999" cy="617817"/>
      </dsp:txXfrm>
    </dsp:sp>
    <dsp:sp modelId="{D423AFA3-5C8E-4A2D-9FCE-9AD49B5C45ED}">
      <dsp:nvSpPr>
        <dsp:cNvPr id="0" name=""/>
        <dsp:cNvSpPr/>
      </dsp:nvSpPr>
      <dsp:spPr>
        <a:xfrm>
          <a:off x="6263295" y="2880132"/>
          <a:ext cx="91440" cy="27088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0884"/>
              </a:lnTo>
            </a:path>
          </a:pathLst>
        </a:custGeom>
        <a:noFill/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B53043-F056-4A08-A8DD-F58F4D2953DF}">
      <dsp:nvSpPr>
        <dsp:cNvPr id="0" name=""/>
        <dsp:cNvSpPr/>
      </dsp:nvSpPr>
      <dsp:spPr>
        <a:xfrm>
          <a:off x="5580075" y="3151016"/>
          <a:ext cx="1457880" cy="656259"/>
        </a:xfrm>
        <a:prstGeom prst="roundRect">
          <a:avLst>
            <a:gd name="adj" fmla="val 10000"/>
          </a:avLst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600" kern="1200" dirty="0">
              <a:latin typeface="Calibri" panose="020F0502020204030204" pitchFamily="34" charset="0"/>
            </a:rPr>
            <a:t>Technische infrastructurele maatregelen</a:t>
          </a:r>
          <a:endParaRPr lang="fr-BE" sz="1600" kern="1200" dirty="0">
            <a:latin typeface="Calibri" panose="020F0502020204030204" pitchFamily="34" charset="0"/>
          </a:endParaRPr>
        </a:p>
      </dsp:txBody>
      <dsp:txXfrm>
        <a:off x="5599296" y="3170237"/>
        <a:ext cx="1419438" cy="617817"/>
      </dsp:txXfrm>
    </dsp:sp>
    <dsp:sp modelId="{E8577D25-C249-4596-A85D-4DD2863EBB47}">
      <dsp:nvSpPr>
        <dsp:cNvPr id="0" name=""/>
        <dsp:cNvSpPr/>
      </dsp:nvSpPr>
      <dsp:spPr>
        <a:xfrm>
          <a:off x="6349912" y="1956033"/>
          <a:ext cx="2057383" cy="25887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9437"/>
              </a:lnTo>
              <a:lnTo>
                <a:pt x="2057383" y="129437"/>
              </a:lnTo>
              <a:lnTo>
                <a:pt x="2057383" y="258874"/>
              </a:lnTo>
            </a:path>
          </a:pathLst>
        </a:custGeom>
        <a:noFill/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39D1D8-E097-4437-8319-AECB0CFF6CCE}">
      <dsp:nvSpPr>
        <dsp:cNvPr id="0" name=""/>
        <dsp:cNvSpPr/>
      </dsp:nvSpPr>
      <dsp:spPr>
        <a:xfrm>
          <a:off x="7756575" y="2214908"/>
          <a:ext cx="1301441" cy="656259"/>
        </a:xfrm>
        <a:prstGeom prst="roundRect">
          <a:avLst>
            <a:gd name="adj" fmla="val 10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b="0" kern="1200" dirty="0" err="1">
              <a:solidFill>
                <a:schemeClr val="bg1"/>
              </a:solidFill>
              <a:latin typeface="Calibri" panose="020F0502020204030204" pitchFamily="34" charset="0"/>
            </a:rPr>
            <a:t>Repressie</a:t>
          </a:r>
          <a:endParaRPr lang="fr-BE" sz="1800" b="0" kern="1200" dirty="0">
            <a:solidFill>
              <a:schemeClr val="bg1"/>
            </a:solidFill>
            <a:latin typeface="Calibri" panose="020F0502020204030204" pitchFamily="34" charset="0"/>
          </a:endParaRPr>
        </a:p>
      </dsp:txBody>
      <dsp:txXfrm>
        <a:off x="7775796" y="2234129"/>
        <a:ext cx="1262999" cy="617817"/>
      </dsp:txXfrm>
    </dsp:sp>
    <dsp:sp modelId="{A009EB74-CEAB-446B-A46D-49E2BF39FA95}">
      <dsp:nvSpPr>
        <dsp:cNvPr id="0" name=""/>
        <dsp:cNvSpPr/>
      </dsp:nvSpPr>
      <dsp:spPr>
        <a:xfrm>
          <a:off x="8361575" y="2871167"/>
          <a:ext cx="91440" cy="27984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79848"/>
              </a:lnTo>
            </a:path>
          </a:pathLst>
        </a:custGeom>
        <a:noFill/>
        <a:ln w="25400" cap="flat" cmpd="sng" algn="ctr">
          <a:solidFill>
            <a:srgbClr val="0070C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9284A4-2E37-42D1-BF18-196898D4ECAA}">
      <dsp:nvSpPr>
        <dsp:cNvPr id="0" name=""/>
        <dsp:cNvSpPr/>
      </dsp:nvSpPr>
      <dsp:spPr>
        <a:xfrm>
          <a:off x="7550222" y="3151016"/>
          <a:ext cx="1714146" cy="656259"/>
        </a:xfrm>
        <a:prstGeom prst="roundRect">
          <a:avLst>
            <a:gd name="adj" fmla="val 10000"/>
          </a:avLst>
        </a:prstGeom>
        <a:solidFill>
          <a:schemeClr val="accent2">
            <a:tint val="99000"/>
            <a:hueOff val="0"/>
            <a:satOff val="0"/>
            <a:lumOff val="0"/>
            <a:alphaOff val="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400" kern="1200" dirty="0">
              <a:latin typeface="Calibri" panose="020F0502020204030204" pitchFamily="34" charset="0"/>
            </a:rPr>
            <a:t>Aangekondigde EN onaangekondigde acties</a:t>
          </a:r>
          <a:endParaRPr lang="fr-BE" sz="1400" kern="1200" dirty="0">
            <a:latin typeface="Calibri" panose="020F0502020204030204" pitchFamily="34" charset="0"/>
          </a:endParaRPr>
        </a:p>
      </dsp:txBody>
      <dsp:txXfrm>
        <a:off x="7569443" y="3170237"/>
        <a:ext cx="1675704" cy="6178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8DE3CF-7D49-401D-BDEA-3DFC8F54247B}">
      <dsp:nvSpPr>
        <dsp:cNvPr id="0" name=""/>
        <dsp:cNvSpPr/>
      </dsp:nvSpPr>
      <dsp:spPr>
        <a:xfrm>
          <a:off x="4539" y="2099766"/>
          <a:ext cx="1117699" cy="447079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>
              <a:latin typeface="Calibri" panose="020F0502020204030204" pitchFamily="34" charset="0"/>
            </a:rPr>
            <a:t>jan</a:t>
          </a:r>
        </a:p>
      </dsp:txBody>
      <dsp:txXfrm>
        <a:off x="228079" y="2099766"/>
        <a:ext cx="670620" cy="447079"/>
      </dsp:txXfrm>
    </dsp:sp>
    <dsp:sp modelId="{DE21F942-842B-43E2-97D3-81D1FB91898F}">
      <dsp:nvSpPr>
        <dsp:cNvPr id="0" name=""/>
        <dsp:cNvSpPr/>
      </dsp:nvSpPr>
      <dsp:spPr>
        <a:xfrm>
          <a:off x="1010468" y="2099766"/>
          <a:ext cx="1117699" cy="44707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 dirty="0" err="1" smtClean="0">
              <a:latin typeface="Calibri" panose="020F0502020204030204" pitchFamily="34" charset="0"/>
            </a:rPr>
            <a:t>feb</a:t>
          </a:r>
          <a:endParaRPr lang="fr-BE" sz="1800" kern="1200" noProof="0" dirty="0">
            <a:latin typeface="Calibri" panose="020F0502020204030204" pitchFamily="34" charset="0"/>
          </a:endParaRPr>
        </a:p>
      </dsp:txBody>
      <dsp:txXfrm>
        <a:off x="1234008" y="2099766"/>
        <a:ext cx="670620" cy="447079"/>
      </dsp:txXfrm>
    </dsp:sp>
    <dsp:sp modelId="{B9C780A3-97C4-4451-BBC2-1D797AACD57C}">
      <dsp:nvSpPr>
        <dsp:cNvPr id="0" name=""/>
        <dsp:cNvSpPr/>
      </dsp:nvSpPr>
      <dsp:spPr>
        <a:xfrm>
          <a:off x="2016397" y="2099766"/>
          <a:ext cx="1117699" cy="447079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 dirty="0" err="1" smtClean="0">
              <a:latin typeface="Calibri" panose="020F0502020204030204" pitchFamily="34" charset="0"/>
            </a:rPr>
            <a:t>maart</a:t>
          </a:r>
          <a:endParaRPr lang="fr-BE" sz="1800" kern="1200" noProof="0" dirty="0">
            <a:latin typeface="Calibri" panose="020F0502020204030204" pitchFamily="34" charset="0"/>
          </a:endParaRPr>
        </a:p>
      </dsp:txBody>
      <dsp:txXfrm>
        <a:off x="2239937" y="2099766"/>
        <a:ext cx="670620" cy="447079"/>
      </dsp:txXfrm>
    </dsp:sp>
    <dsp:sp modelId="{AEADA5EC-98CE-4C05-8E6B-C31D8CCAA042}">
      <dsp:nvSpPr>
        <dsp:cNvPr id="0" name=""/>
        <dsp:cNvSpPr/>
      </dsp:nvSpPr>
      <dsp:spPr>
        <a:xfrm>
          <a:off x="3022327" y="2099766"/>
          <a:ext cx="1117699" cy="44707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 dirty="0" err="1" smtClean="0">
              <a:latin typeface="Calibri" panose="020F0502020204030204" pitchFamily="34" charset="0"/>
            </a:rPr>
            <a:t>april</a:t>
          </a:r>
          <a:endParaRPr lang="fr-BE" sz="1800" kern="1200" noProof="0" dirty="0">
            <a:latin typeface="Calibri" panose="020F0502020204030204" pitchFamily="34" charset="0"/>
          </a:endParaRPr>
        </a:p>
      </dsp:txBody>
      <dsp:txXfrm>
        <a:off x="3245867" y="2099766"/>
        <a:ext cx="670620" cy="447079"/>
      </dsp:txXfrm>
    </dsp:sp>
    <dsp:sp modelId="{29AEF7DA-66A4-4B53-88BA-54B504EB0BB3}">
      <dsp:nvSpPr>
        <dsp:cNvPr id="0" name=""/>
        <dsp:cNvSpPr/>
      </dsp:nvSpPr>
      <dsp:spPr>
        <a:xfrm>
          <a:off x="4028256" y="2099766"/>
          <a:ext cx="1117699" cy="447079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 dirty="0" err="1" smtClean="0">
              <a:latin typeface="Calibri" panose="020F0502020204030204" pitchFamily="34" charset="0"/>
            </a:rPr>
            <a:t>mei</a:t>
          </a:r>
          <a:endParaRPr lang="fr-BE" sz="1800" kern="1200" noProof="0" dirty="0">
            <a:latin typeface="Calibri" panose="020F0502020204030204" pitchFamily="34" charset="0"/>
          </a:endParaRPr>
        </a:p>
      </dsp:txBody>
      <dsp:txXfrm>
        <a:off x="4251796" y="2099766"/>
        <a:ext cx="670620" cy="447079"/>
      </dsp:txXfrm>
    </dsp:sp>
    <dsp:sp modelId="{CF0F3D15-087A-4F7F-BEB7-779C1049B034}">
      <dsp:nvSpPr>
        <dsp:cNvPr id="0" name=""/>
        <dsp:cNvSpPr/>
      </dsp:nvSpPr>
      <dsp:spPr>
        <a:xfrm>
          <a:off x="5034185" y="2099766"/>
          <a:ext cx="1117699" cy="44707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>
              <a:latin typeface="Calibri" panose="020F0502020204030204" pitchFamily="34" charset="0"/>
            </a:rPr>
            <a:t>jun</a:t>
          </a:r>
        </a:p>
      </dsp:txBody>
      <dsp:txXfrm>
        <a:off x="5257725" y="2099766"/>
        <a:ext cx="670620" cy="447079"/>
      </dsp:txXfrm>
    </dsp:sp>
    <dsp:sp modelId="{9E211ED4-588A-4814-A996-192DB3EF2CF6}">
      <dsp:nvSpPr>
        <dsp:cNvPr id="0" name=""/>
        <dsp:cNvSpPr/>
      </dsp:nvSpPr>
      <dsp:spPr>
        <a:xfrm>
          <a:off x="6040115" y="2099766"/>
          <a:ext cx="1117699" cy="447079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>
              <a:latin typeface="Calibri" panose="020F0502020204030204" pitchFamily="34" charset="0"/>
            </a:rPr>
            <a:t>jul</a:t>
          </a:r>
        </a:p>
      </dsp:txBody>
      <dsp:txXfrm>
        <a:off x="6263655" y="2099766"/>
        <a:ext cx="670620" cy="447079"/>
      </dsp:txXfrm>
    </dsp:sp>
    <dsp:sp modelId="{F71628AC-E528-4A54-9A28-887F7F9AA18A}">
      <dsp:nvSpPr>
        <dsp:cNvPr id="0" name=""/>
        <dsp:cNvSpPr/>
      </dsp:nvSpPr>
      <dsp:spPr>
        <a:xfrm>
          <a:off x="7046044" y="2099766"/>
          <a:ext cx="1117699" cy="44707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 dirty="0" err="1" smtClean="0">
              <a:latin typeface="Calibri" panose="020F0502020204030204" pitchFamily="34" charset="0"/>
            </a:rPr>
            <a:t>aug</a:t>
          </a:r>
          <a:endParaRPr lang="fr-BE" sz="1800" kern="1200" noProof="0" dirty="0">
            <a:latin typeface="Calibri" panose="020F0502020204030204" pitchFamily="34" charset="0"/>
          </a:endParaRPr>
        </a:p>
      </dsp:txBody>
      <dsp:txXfrm>
        <a:off x="7269584" y="2099766"/>
        <a:ext cx="670620" cy="447079"/>
      </dsp:txXfrm>
    </dsp:sp>
    <dsp:sp modelId="{2A1BC78E-D084-40FF-8C9E-7E25ED6ED565}">
      <dsp:nvSpPr>
        <dsp:cNvPr id="0" name=""/>
        <dsp:cNvSpPr/>
      </dsp:nvSpPr>
      <dsp:spPr>
        <a:xfrm>
          <a:off x="8051973" y="2099766"/>
          <a:ext cx="1117699" cy="447079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>
              <a:latin typeface="Calibri" panose="020F0502020204030204" pitchFamily="34" charset="0"/>
            </a:rPr>
            <a:t>sept</a:t>
          </a:r>
        </a:p>
      </dsp:txBody>
      <dsp:txXfrm>
        <a:off x="8275513" y="2099766"/>
        <a:ext cx="670620" cy="447079"/>
      </dsp:txXfrm>
    </dsp:sp>
    <dsp:sp modelId="{D82626C5-8BD0-4DA8-8FAB-B6F6D30B2541}">
      <dsp:nvSpPr>
        <dsp:cNvPr id="0" name=""/>
        <dsp:cNvSpPr/>
      </dsp:nvSpPr>
      <dsp:spPr>
        <a:xfrm>
          <a:off x="9057902" y="2099766"/>
          <a:ext cx="1117699" cy="44707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 dirty="0" err="1" smtClean="0">
              <a:latin typeface="Calibri" panose="020F0502020204030204" pitchFamily="34" charset="0"/>
            </a:rPr>
            <a:t>okt</a:t>
          </a:r>
          <a:endParaRPr lang="fr-BE" sz="1800" kern="1200" noProof="0" dirty="0">
            <a:latin typeface="Calibri" panose="020F0502020204030204" pitchFamily="34" charset="0"/>
          </a:endParaRPr>
        </a:p>
      </dsp:txBody>
      <dsp:txXfrm>
        <a:off x="9281442" y="2099766"/>
        <a:ext cx="670620" cy="447079"/>
      </dsp:txXfrm>
    </dsp:sp>
    <dsp:sp modelId="{CCA54ECF-1F7B-46FD-AC58-ED54FE1EC570}">
      <dsp:nvSpPr>
        <dsp:cNvPr id="0" name=""/>
        <dsp:cNvSpPr/>
      </dsp:nvSpPr>
      <dsp:spPr>
        <a:xfrm>
          <a:off x="10063832" y="2099766"/>
          <a:ext cx="1117699" cy="447079"/>
        </a:xfrm>
        <a:prstGeom prst="chevron">
          <a:avLst/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>
              <a:latin typeface="Calibri" panose="020F0502020204030204" pitchFamily="34" charset="0"/>
            </a:rPr>
            <a:t>nov</a:t>
          </a:r>
        </a:p>
      </dsp:txBody>
      <dsp:txXfrm>
        <a:off x="10287372" y="2099766"/>
        <a:ext cx="670620" cy="447079"/>
      </dsp:txXfrm>
    </dsp:sp>
    <dsp:sp modelId="{D96221DE-074C-4974-9DDE-ADFECD0322AA}">
      <dsp:nvSpPr>
        <dsp:cNvPr id="0" name=""/>
        <dsp:cNvSpPr/>
      </dsp:nvSpPr>
      <dsp:spPr>
        <a:xfrm>
          <a:off x="11069761" y="2099766"/>
          <a:ext cx="1117699" cy="447079"/>
        </a:xfrm>
        <a:prstGeom prst="chevron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BE" sz="1800" kern="1200" noProof="0" dirty="0" err="1" smtClean="0">
              <a:latin typeface="Calibri" panose="020F0502020204030204" pitchFamily="34" charset="0"/>
            </a:rPr>
            <a:t>dec</a:t>
          </a:r>
          <a:endParaRPr lang="fr-BE" sz="1800" kern="1200" noProof="0" dirty="0">
            <a:latin typeface="Calibri" panose="020F0502020204030204" pitchFamily="34" charset="0"/>
          </a:endParaRPr>
        </a:p>
      </dsp:txBody>
      <dsp:txXfrm>
        <a:off x="11293301" y="2099766"/>
        <a:ext cx="670620" cy="44707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FE2526-5E77-4092-8E71-0F00CB7AF289}">
      <dsp:nvSpPr>
        <dsp:cNvPr id="0" name=""/>
        <dsp:cNvSpPr/>
      </dsp:nvSpPr>
      <dsp:spPr>
        <a:xfrm>
          <a:off x="2912959" y="5112"/>
          <a:ext cx="1869491" cy="186949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700" b="1" kern="1200" dirty="0" smtClean="0">
              <a:latin typeface="Calibri" panose="020F0502020204030204" pitchFamily="34" charset="0"/>
            </a:rPr>
            <a:t>Dangerous </a:t>
          </a:r>
          <a:r>
            <a:rPr lang="nl-NL" sz="1700" b="1" kern="1200" dirty="0" err="1" smtClean="0">
              <a:latin typeface="Calibri" panose="020F0502020204030204" pitchFamily="34" charset="0"/>
            </a:rPr>
            <a:t>Doers</a:t>
          </a:r>
          <a:endParaRPr lang="nl-NL" sz="1700" b="1" kern="1200" dirty="0" smtClean="0">
            <a:latin typeface="Calibri" panose="020F0502020204030204" pitchFamily="34" charset="0"/>
          </a:endParaRP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700" b="0" kern="1200" dirty="0" smtClean="0">
              <a:latin typeface="Calibri" panose="020F0502020204030204" pitchFamily="34" charset="0"/>
            </a:rPr>
            <a:t>Jongeren</a:t>
          </a:r>
          <a:endParaRPr lang="nl-NL" sz="1700" b="0" kern="1200" dirty="0">
            <a:latin typeface="Calibri" panose="020F0502020204030204" pitchFamily="34" charset="0"/>
          </a:endParaRP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700" b="0" kern="1200" dirty="0">
              <a:latin typeface="Calibri" panose="020F0502020204030204" pitchFamily="34" charset="0"/>
            </a:rPr>
            <a:t>15-24</a:t>
          </a:r>
          <a:endParaRPr lang="fr-FR" sz="1700" b="0" kern="1200" dirty="0">
            <a:latin typeface="Calibri" panose="020F0502020204030204" pitchFamily="34" charset="0"/>
          </a:endParaRPr>
        </a:p>
      </dsp:txBody>
      <dsp:txXfrm>
        <a:off x="3174014" y="225566"/>
        <a:ext cx="1077904" cy="1428584"/>
      </dsp:txXfrm>
    </dsp:sp>
    <dsp:sp modelId="{5D7A19DF-CA33-4190-ACA0-457A68DFECE0}">
      <dsp:nvSpPr>
        <dsp:cNvPr id="0" name=""/>
        <dsp:cNvSpPr/>
      </dsp:nvSpPr>
      <dsp:spPr>
        <a:xfrm>
          <a:off x="4260340" y="10225"/>
          <a:ext cx="1869491" cy="186949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700" b="1" kern="1200" dirty="0" err="1" smtClean="0">
              <a:latin typeface="Calibri" panose="020F0502020204030204" pitchFamily="34" charset="0"/>
            </a:rPr>
            <a:t>Unconsious</a:t>
          </a:r>
          <a:r>
            <a:rPr lang="nl-NL" sz="1700" b="1" kern="1200" dirty="0" smtClean="0">
              <a:latin typeface="Calibri" panose="020F0502020204030204" pitchFamily="34" charset="0"/>
            </a:rPr>
            <a:t> Crossers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700" b="0" kern="1200" dirty="0" smtClean="0">
              <a:latin typeface="Calibri" panose="020F0502020204030204" pitchFamily="34" charset="0"/>
            </a:rPr>
            <a:t>Vrouwen</a:t>
          </a:r>
          <a:endParaRPr lang="nl-NL" sz="1700" b="0" kern="1200" dirty="0">
            <a:latin typeface="Calibri" panose="020F0502020204030204" pitchFamily="34" charset="0"/>
          </a:endParaRP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700" b="0" kern="1200" dirty="0">
              <a:latin typeface="Calibri" panose="020F0502020204030204" pitchFamily="34" charset="0"/>
            </a:rPr>
            <a:t>45-54</a:t>
          </a:r>
        </a:p>
      </dsp:txBody>
      <dsp:txXfrm>
        <a:off x="4790871" y="230678"/>
        <a:ext cx="1077904" cy="14285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7" name="Rectangle 17"/>
          <p:cNvSpPr>
            <a:spLocks noChangeArrowheads="1"/>
          </p:cNvSpPr>
          <p:nvPr/>
        </p:nvSpPr>
        <p:spPr bwMode="auto">
          <a:xfrm>
            <a:off x="604784" y="9271060"/>
            <a:ext cx="1530312" cy="272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/>
            <a:endParaRPr lang="en-GB" sz="1000" b="1"/>
          </a:p>
        </p:txBody>
      </p:sp>
      <p:sp>
        <p:nvSpPr>
          <p:cNvPr id="15378" name="Rectangle 18"/>
          <p:cNvSpPr>
            <a:spLocks noChangeArrowheads="1"/>
          </p:cNvSpPr>
          <p:nvPr/>
        </p:nvSpPr>
        <p:spPr bwMode="auto">
          <a:xfrm>
            <a:off x="2500802" y="9271060"/>
            <a:ext cx="1785739" cy="272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endParaRPr lang="en-GB" sz="1000" b="1"/>
          </a:p>
        </p:txBody>
      </p:sp>
      <p:sp>
        <p:nvSpPr>
          <p:cNvPr id="15379" name="Rectangle 19"/>
          <p:cNvSpPr>
            <a:spLocks noChangeArrowheads="1"/>
          </p:cNvSpPr>
          <p:nvPr/>
        </p:nvSpPr>
        <p:spPr bwMode="auto">
          <a:xfrm>
            <a:off x="5871983" y="9271060"/>
            <a:ext cx="313939" cy="272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/>
            <a:fld id="{C2896571-696E-43A2-AE9D-B0F7B3FC1A9A}" type="slidenum">
              <a:rPr lang="en-GB" sz="1000" b="1"/>
              <a:pPr algn="r"/>
              <a:t>‹#›</a:t>
            </a:fld>
            <a:endParaRPr lang="en-GB" sz="1000" b="1"/>
          </a:p>
        </p:txBody>
      </p:sp>
    </p:spTree>
    <p:extLst>
      <p:ext uri="{BB962C8B-B14F-4D97-AF65-F5344CB8AC3E}">
        <p14:creationId xmlns:p14="http://schemas.microsoft.com/office/powerpoint/2010/main" val="1711577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7950" y="739775"/>
            <a:ext cx="6581775" cy="37020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689517"/>
            <a:ext cx="5438140" cy="4442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4" tIns="45197" rIns="90394" bIns="451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131" name="Rectangle 11"/>
          <p:cNvSpPr>
            <a:spLocks noChangeArrowheads="1"/>
          </p:cNvSpPr>
          <p:nvPr/>
        </p:nvSpPr>
        <p:spPr bwMode="auto">
          <a:xfrm>
            <a:off x="766694" y="9271060"/>
            <a:ext cx="1442853" cy="272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/>
            <a:endParaRPr lang="en-GB" sz="1000" b="1">
              <a:solidFill>
                <a:schemeClr val="tx1"/>
              </a:solidFill>
            </a:endParaRPr>
          </a:p>
        </p:txBody>
      </p:sp>
      <p:sp>
        <p:nvSpPr>
          <p:cNvPr id="5132" name="Rectangle 12"/>
          <p:cNvSpPr>
            <a:spLocks noChangeArrowheads="1"/>
          </p:cNvSpPr>
          <p:nvPr/>
        </p:nvSpPr>
        <p:spPr bwMode="auto">
          <a:xfrm>
            <a:off x="2554344" y="9271060"/>
            <a:ext cx="1683682" cy="272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endParaRPr lang="en-GB" sz="1000" b="1">
              <a:solidFill>
                <a:schemeClr val="tx1"/>
              </a:solidFill>
            </a:endParaRPr>
          </a:p>
        </p:txBody>
      </p:sp>
      <p:sp>
        <p:nvSpPr>
          <p:cNvPr id="5133" name="Rectangle 13"/>
          <p:cNvSpPr>
            <a:spLocks noChangeArrowheads="1"/>
          </p:cNvSpPr>
          <p:nvPr/>
        </p:nvSpPr>
        <p:spPr bwMode="auto">
          <a:xfrm>
            <a:off x="5732867" y="9271060"/>
            <a:ext cx="295997" cy="272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r"/>
            <a:fld id="{91836FE3-F7CB-465E-A534-0EC2805B9F16}" type="slidenum">
              <a:rPr lang="en-GB" sz="1000" b="1">
                <a:solidFill>
                  <a:schemeClr val="tx1"/>
                </a:solidFill>
              </a:rPr>
              <a:pPr algn="r"/>
              <a:t>‹#›</a:t>
            </a:fld>
            <a:endParaRPr lang="en-GB" sz="10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4869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79388" y="742950"/>
            <a:ext cx="6573837" cy="36972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155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nl-BE" altLang="en-US"/>
          </a:p>
        </p:txBody>
      </p:sp>
    </p:spTree>
    <p:extLst>
      <p:ext uri="{BB962C8B-B14F-4D97-AF65-F5344CB8AC3E}">
        <p14:creationId xmlns:p14="http://schemas.microsoft.com/office/powerpoint/2010/main" val="33483874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6626" y="8685214"/>
            <a:ext cx="2996291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14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32882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 dirty="0" err="1"/>
              <a:t>Use</a:t>
            </a:r>
            <a:r>
              <a:rPr lang="nl-BE" dirty="0"/>
              <a:t> </a:t>
            </a:r>
            <a:r>
              <a:rPr lang="nl-BE" dirty="0" err="1"/>
              <a:t>closed</a:t>
            </a:r>
            <a:r>
              <a:rPr lang="nl-BE" dirty="0"/>
              <a:t> level crossing, </a:t>
            </a:r>
            <a:r>
              <a:rPr lang="nl-BE" dirty="0" err="1"/>
              <a:t>sit</a:t>
            </a:r>
            <a:r>
              <a:rPr lang="nl-BE" dirty="0"/>
              <a:t> or </a:t>
            </a:r>
            <a:r>
              <a:rPr lang="nl-BE" dirty="0" err="1"/>
              <a:t>lean</a:t>
            </a:r>
            <a:r>
              <a:rPr lang="nl-BE" dirty="0"/>
              <a:t> on </a:t>
            </a:r>
            <a:r>
              <a:rPr lang="nl-BE" dirty="0" err="1"/>
              <a:t>barriers</a:t>
            </a:r>
            <a:r>
              <a:rPr lang="nl-BE" baseline="0" dirty="0"/>
              <a:t> of </a:t>
            </a:r>
            <a:r>
              <a:rPr lang="nl-BE" baseline="0" dirty="0" err="1"/>
              <a:t>closed</a:t>
            </a:r>
            <a:r>
              <a:rPr lang="nl-BE" baseline="0" dirty="0"/>
              <a:t> level crossing, </a:t>
            </a:r>
            <a:r>
              <a:rPr lang="nl-BE" baseline="0" dirty="0" err="1"/>
              <a:t>use</a:t>
            </a:r>
            <a:r>
              <a:rPr lang="nl-BE" baseline="0" dirty="0"/>
              <a:t> </a:t>
            </a:r>
            <a:r>
              <a:rPr lang="nl-BE" baseline="0" dirty="0" err="1"/>
              <a:t>closed</a:t>
            </a:r>
            <a:r>
              <a:rPr lang="nl-BE" baseline="0" dirty="0"/>
              <a:t> level crossing </a:t>
            </a:r>
            <a:r>
              <a:rPr lang="nl-BE" baseline="0" dirty="0" err="1"/>
              <a:t>when</a:t>
            </a:r>
            <a:r>
              <a:rPr lang="nl-BE" baseline="0" dirty="0"/>
              <a:t> </a:t>
            </a:r>
            <a:r>
              <a:rPr lang="nl-BE" baseline="0" dirty="0" err="1"/>
              <a:t>trai</a:t>
            </a:r>
            <a:r>
              <a:rPr lang="nl-BE" baseline="0" dirty="0"/>
              <a:t> passes, </a:t>
            </a:r>
            <a:r>
              <a:rPr lang="nl-BE" baseline="0" dirty="0" err="1"/>
              <a:t>use</a:t>
            </a:r>
            <a:r>
              <a:rPr lang="nl-BE" baseline="0" dirty="0"/>
              <a:t> level </a:t>
            </a:r>
            <a:r>
              <a:rPr lang="nl-BE" baseline="0" dirty="0" err="1"/>
              <a:t>crossings</a:t>
            </a:r>
            <a:r>
              <a:rPr lang="nl-BE" baseline="0" dirty="0"/>
              <a:t> </a:t>
            </a:r>
            <a:r>
              <a:rPr lang="nl-BE" baseline="0" dirty="0" err="1"/>
              <a:t>when</a:t>
            </a:r>
            <a:r>
              <a:rPr lang="nl-BE" baseline="0" dirty="0"/>
              <a:t> </a:t>
            </a:r>
            <a:r>
              <a:rPr lang="nl-BE" baseline="0" dirty="0" err="1"/>
              <a:t>lights</a:t>
            </a:r>
            <a:r>
              <a:rPr lang="nl-BE" baseline="0" dirty="0"/>
              <a:t> flash but </a:t>
            </a:r>
            <a:r>
              <a:rPr lang="nl-BE" baseline="0" dirty="0" err="1"/>
              <a:t>barrier</a:t>
            </a:r>
            <a:r>
              <a:rPr lang="nl-BE" baseline="0" dirty="0"/>
              <a:t> </a:t>
            </a:r>
            <a:r>
              <a:rPr lang="nl-BE" baseline="0" dirty="0" err="1"/>
              <a:t>still</a:t>
            </a:r>
            <a:r>
              <a:rPr lang="nl-BE" baseline="0" dirty="0"/>
              <a:t> open, drive on level crossing </a:t>
            </a:r>
            <a:r>
              <a:rPr lang="nl-BE" baseline="0" dirty="0" err="1"/>
              <a:t>when</a:t>
            </a:r>
            <a:r>
              <a:rPr lang="nl-BE" baseline="0" dirty="0"/>
              <a:t> </a:t>
            </a:r>
            <a:r>
              <a:rPr lang="nl-BE" baseline="0" dirty="0" err="1"/>
              <a:t>it’s</a:t>
            </a:r>
            <a:r>
              <a:rPr lang="nl-BE" baseline="0" dirty="0"/>
              <a:t> </a:t>
            </a:r>
            <a:r>
              <a:rPr lang="nl-BE" baseline="0" dirty="0" err="1"/>
              <a:t>blocked</a:t>
            </a:r>
            <a:r>
              <a:rPr lang="nl-BE" baseline="0" dirty="0"/>
              <a:t>, </a:t>
            </a:r>
            <a:r>
              <a:rPr lang="nl-BE" baseline="0" dirty="0" err="1"/>
              <a:t>use</a:t>
            </a:r>
            <a:r>
              <a:rPr lang="nl-BE" baseline="0" dirty="0"/>
              <a:t> level crossing without </a:t>
            </a:r>
            <a:r>
              <a:rPr lang="nl-BE" baseline="0" dirty="0" err="1"/>
              <a:t>looking</a:t>
            </a:r>
            <a:r>
              <a:rPr lang="nl-BE" baseline="0" dirty="0"/>
              <a:t> at </a:t>
            </a:r>
            <a:r>
              <a:rPr lang="nl-BE" baseline="0" dirty="0" err="1"/>
              <a:t>signalization</a:t>
            </a:r>
            <a:r>
              <a:rPr lang="nl-BE" baseline="0" dirty="0"/>
              <a:t>, </a:t>
            </a:r>
            <a:r>
              <a:rPr lang="nl-BE" baseline="0" dirty="0" err="1"/>
              <a:t>use</a:t>
            </a:r>
            <a:r>
              <a:rPr lang="nl-BE" baseline="0" dirty="0"/>
              <a:t> level crossing </a:t>
            </a:r>
            <a:r>
              <a:rPr lang="nl-BE" baseline="0" dirty="0" err="1"/>
              <a:t>when</a:t>
            </a:r>
            <a:r>
              <a:rPr lang="nl-BE" baseline="0" dirty="0"/>
              <a:t> hearing is </a:t>
            </a:r>
            <a:r>
              <a:rPr lang="nl-BE" baseline="0" dirty="0" err="1"/>
              <a:t>limited</a:t>
            </a:r>
            <a:r>
              <a:rPr lang="nl-BE" baseline="0" dirty="0"/>
              <a:t>, </a:t>
            </a:r>
            <a:r>
              <a:rPr lang="nl-BE" baseline="0" dirty="0" err="1"/>
              <a:t>use</a:t>
            </a:r>
            <a:r>
              <a:rPr lang="nl-BE" baseline="0" dirty="0"/>
              <a:t> </a:t>
            </a:r>
            <a:r>
              <a:rPr lang="nl-BE" baseline="0" dirty="0" err="1"/>
              <a:t>smarthpone</a:t>
            </a:r>
            <a:r>
              <a:rPr lang="nl-BE" baseline="0" dirty="0"/>
              <a:t> </a:t>
            </a:r>
            <a:r>
              <a:rPr lang="nl-BE" baseline="0" dirty="0" err="1"/>
              <a:t>when</a:t>
            </a:r>
            <a:r>
              <a:rPr lang="nl-BE" baseline="0" dirty="0"/>
              <a:t> </a:t>
            </a:r>
            <a:r>
              <a:rPr lang="nl-BE" baseline="0" dirty="0" err="1"/>
              <a:t>biking</a:t>
            </a:r>
            <a:r>
              <a:rPr lang="nl-BE" baseline="0" dirty="0"/>
              <a:t>, </a:t>
            </a:r>
            <a:r>
              <a:rPr lang="nl-BE" baseline="0" dirty="0" err="1"/>
              <a:t>use</a:t>
            </a:r>
            <a:r>
              <a:rPr lang="nl-BE" baseline="0" dirty="0"/>
              <a:t> smartphone </a:t>
            </a:r>
            <a:r>
              <a:rPr lang="nl-BE" baseline="0" dirty="0" err="1"/>
              <a:t>when</a:t>
            </a:r>
            <a:r>
              <a:rPr lang="nl-BE" baseline="0" dirty="0"/>
              <a:t> </a:t>
            </a:r>
            <a:r>
              <a:rPr lang="nl-BE" baseline="0" dirty="0" err="1"/>
              <a:t>driving</a:t>
            </a:r>
            <a:r>
              <a:rPr lang="nl-BE" baseline="0" dirty="0"/>
              <a:t>, </a:t>
            </a:r>
            <a:r>
              <a:rPr lang="nl-BE" baseline="0" dirty="0" err="1"/>
              <a:t>use</a:t>
            </a:r>
            <a:r>
              <a:rPr lang="nl-BE" baseline="0" dirty="0"/>
              <a:t> level crossing </a:t>
            </a:r>
            <a:r>
              <a:rPr lang="nl-BE" baseline="0" dirty="0" err="1"/>
              <a:t>when</a:t>
            </a:r>
            <a:r>
              <a:rPr lang="nl-BE" baseline="0" dirty="0"/>
              <a:t> </a:t>
            </a:r>
            <a:r>
              <a:rPr lang="nl-BE" baseline="0" dirty="0" err="1"/>
              <a:t>visibility</a:t>
            </a:r>
            <a:r>
              <a:rPr lang="nl-BE" baseline="0" dirty="0"/>
              <a:t> is </a:t>
            </a:r>
            <a:r>
              <a:rPr lang="nl-BE" baseline="0" dirty="0" err="1"/>
              <a:t>limted</a:t>
            </a:r>
            <a:r>
              <a:rPr lang="nl-BE" baseline="0" dirty="0"/>
              <a:t>, talk </a:t>
            </a:r>
            <a:r>
              <a:rPr lang="nl-BE" baseline="0" dirty="0" err="1"/>
              <a:t>to</a:t>
            </a:r>
            <a:r>
              <a:rPr lang="nl-BE" baseline="0" dirty="0"/>
              <a:t> </a:t>
            </a:r>
            <a:r>
              <a:rPr lang="nl-BE" baseline="0" dirty="0" err="1"/>
              <a:t>others</a:t>
            </a:r>
            <a:r>
              <a:rPr lang="nl-BE" baseline="0" dirty="0"/>
              <a:t> </a:t>
            </a:r>
            <a:r>
              <a:rPr lang="nl-BE" baseline="0" dirty="0" err="1"/>
              <a:t>while</a:t>
            </a:r>
            <a:r>
              <a:rPr lang="nl-BE" baseline="0" dirty="0"/>
              <a:t> </a:t>
            </a:r>
            <a:r>
              <a:rPr lang="nl-BE" baseline="0" dirty="0" err="1"/>
              <a:t>using</a:t>
            </a:r>
            <a:r>
              <a:rPr lang="nl-BE" baseline="0" dirty="0"/>
              <a:t> level crossing, </a:t>
            </a:r>
            <a:r>
              <a:rPr lang="nl-BE" baseline="0" dirty="0" err="1"/>
              <a:t>use</a:t>
            </a:r>
            <a:r>
              <a:rPr lang="nl-BE" baseline="0" dirty="0"/>
              <a:t> smartphone as </a:t>
            </a:r>
            <a:r>
              <a:rPr lang="nl-BE" baseline="0" dirty="0" err="1"/>
              <a:t>pedestria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92143" y="8685215"/>
            <a:ext cx="3054063" cy="4587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8C0EC7-8FCA-41B8-995C-6E3ADAA06603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2703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4663" y="788988"/>
            <a:ext cx="5903912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16416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6626" y="8685214"/>
            <a:ext cx="2996291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17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2380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6626" y="8685214"/>
            <a:ext cx="2996291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18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6887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6626" y="8685214"/>
            <a:ext cx="2996291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19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892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6626" y="8685214"/>
            <a:ext cx="2996291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20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7539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9750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803710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fr-FR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643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None/>
            </a:pPr>
            <a:endParaRPr lang="fr-FR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1009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11536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734853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45059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97925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7020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92143" y="8685215"/>
            <a:ext cx="3054063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7</a:t>
            </a:fld>
            <a:endParaRPr lang="en-US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417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3075" y="787400"/>
            <a:ext cx="5907088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dirty="0"/>
              <a:t>O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101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BE"/>
              <a:t>Stand on tracks, climb</a:t>
            </a:r>
            <a:r>
              <a:rPr lang="nl-BE" baseline="0"/>
              <a:t> a fence, pick up personal belongings, go from one platform to another, persuade others to trespass, enter tunnels or bridges for trains, throw rocks on tracks, walk near tracks, sit/stand on edge of platform, meet with friends, cross tracks, take a picture or selfi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92143" y="8685215"/>
            <a:ext cx="3054063" cy="458787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8C0EC7-8FCA-41B8-995C-6E3ADAA06603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9995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4663" y="788988"/>
            <a:ext cx="5903912" cy="33210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2022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endParaRPr lang="nl-B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6626" y="8685214"/>
            <a:ext cx="2996291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11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159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6626" y="8685214"/>
            <a:ext cx="2996291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12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8524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16626" y="8685214"/>
            <a:ext cx="2996291" cy="458787"/>
          </a:xfrm>
          <a:prstGeom prst="rect">
            <a:avLst/>
          </a:prstGeom>
        </p:spPr>
        <p:txBody>
          <a:bodyPr/>
          <a:lstStyle/>
          <a:p>
            <a:pPr algn="l" eaLnBrk="0" hangingPunct="0"/>
            <a:fld id="{6A8C0EC7-8FCA-41B8-995C-6E3ADAA06603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 eaLnBrk="0" hangingPunct="0"/>
              <a:t>13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4922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9" cy="6876791"/>
          </a:xfrm>
          <a:prstGeom prst="rect">
            <a:avLst/>
          </a:prstGeom>
          <a:noFill/>
          <a:ln>
            <a:noFill/>
          </a:ln>
        </p:spPr>
      </p:pic>
      <p:sp>
        <p:nvSpPr>
          <p:cNvPr id="3096" name="Freeform 24"/>
          <p:cNvSpPr>
            <a:spLocks/>
          </p:cNvSpPr>
          <p:nvPr userDrawn="1"/>
        </p:nvSpPr>
        <p:spPr bwMode="auto">
          <a:xfrm>
            <a:off x="-384720" y="0"/>
            <a:ext cx="7719793" cy="68595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354"/>
              </a:cxn>
              <a:cxn ang="0">
                <a:pos x="2359" y="4354"/>
              </a:cxn>
              <a:cxn ang="0">
                <a:pos x="3674" y="0"/>
              </a:cxn>
              <a:cxn ang="0">
                <a:pos x="0" y="0"/>
              </a:cxn>
            </a:cxnLst>
            <a:rect l="0" t="0" r="r" b="b"/>
            <a:pathLst>
              <a:path w="3674" h="4354">
                <a:moveTo>
                  <a:pt x="0" y="0"/>
                </a:moveTo>
                <a:lnTo>
                  <a:pt x="0" y="4354"/>
                </a:lnTo>
                <a:lnTo>
                  <a:pt x="2359" y="4354"/>
                </a:lnTo>
                <a:lnTo>
                  <a:pt x="367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endParaRPr lang="nl-BE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51384" y="1818947"/>
            <a:ext cx="5689600" cy="14414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55620" y="3285803"/>
            <a:ext cx="5448300" cy="503237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8" name="Picture 26" descr="infrabel_logo_color_POS_RGB_154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2594" y="298456"/>
            <a:ext cx="2778125" cy="741363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4" y="3429000"/>
            <a:ext cx="11329573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214" y="1220693"/>
            <a:ext cx="11329573" cy="134418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214" y="2660893"/>
            <a:ext cx="11329573" cy="576080"/>
          </a:xfrm>
        </p:spPr>
        <p:txBody>
          <a:bodyPr tIns="0"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0"/>
            <a:ext cx="11328829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488087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11327717" algn="r"/>
              </a:tabLst>
              <a:defRPr sz="2400">
                <a:solidFill>
                  <a:schemeClr val="tx1"/>
                </a:solidFill>
              </a:defRPr>
            </a:lvl1pPr>
            <a:lvl2pPr marL="478355" indent="0">
              <a:spcBef>
                <a:spcPts val="16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11039724" algn="r"/>
              </a:tabLst>
              <a:defRPr sz="2400">
                <a:solidFill>
                  <a:schemeClr val="bg2"/>
                </a:solidFill>
              </a:defRPr>
            </a:lvl2pPr>
            <a:lvl3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3pPr>
            <a:lvl4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5pPr>
            <a:lvl6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702259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883"/>
            <a:ext cx="11329573" cy="1919747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12192000" cy="21801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9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99"/>
            <a:ext cx="12192000" cy="21800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784"/>
            <a:ext cx="11328557" cy="19198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431213" y="2372883"/>
            <a:ext cx="11329512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133" dirty="0" err="1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431214" y="4197085"/>
            <a:ext cx="11328157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133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003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564779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167149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69473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1220694"/>
            <a:ext cx="11329573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4" y="1700760"/>
            <a:ext cx="3647604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271746" y="1701800"/>
            <a:ext cx="3648508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8112280" y="1701800"/>
            <a:ext cx="3648507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08448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31215" y="1700760"/>
            <a:ext cx="26883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3311615" y="1700760"/>
            <a:ext cx="2688372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6192014" y="1700760"/>
            <a:ext cx="2688373" cy="460694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9072414" y="1700760"/>
            <a:ext cx="2688373" cy="460590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291789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31215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92014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539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9" y="980735"/>
            <a:ext cx="10752667" cy="8874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669" y="1916113"/>
            <a:ext cx="10752667" cy="4176712"/>
          </a:xfrm>
        </p:spPr>
        <p:txBody>
          <a:bodyPr/>
          <a:lstStyle>
            <a:lvl1pPr>
              <a:buFontTx/>
              <a:buNone/>
              <a:defRPr sz="2000"/>
            </a:lvl1pPr>
            <a:lvl2pPr>
              <a:defRPr sz="2000"/>
            </a:lvl2pPr>
            <a:lvl4pPr>
              <a:defRPr sz="2000" i="0"/>
            </a:lvl4pPr>
            <a:lvl5pPr>
              <a:defRPr sz="2000"/>
            </a:lvl5pPr>
            <a:lvl6pPr>
              <a:defRPr/>
            </a:lvl6pPr>
            <a:lvl7pPr>
              <a:buFont typeface="Arial" pitchFamily="34" charset="0"/>
              <a:buChar char="•"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/>
            </a:lvl1pPr>
          </a:lstStyle>
          <a:p>
            <a:fld id="{768EF88F-1E48-4A48-9787-6B9229C2137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7526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9"/>
            <a:ext cx="11328399" cy="268563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8313543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2" y="1221319"/>
            <a:ext cx="11328399" cy="2688168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1901337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8"/>
            <a:ext cx="11328400" cy="268816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496277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0657628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3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515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3515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3515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3516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929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131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1131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1131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32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2351584" y="4101093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3184" y="4101725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0709713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214" y="1316567"/>
            <a:ext cx="11329573" cy="2592917"/>
          </a:xfrm>
        </p:spPr>
        <p:txBody>
          <a:bodyPr anchor="b"/>
          <a:lstStyle>
            <a:lvl1pPr>
              <a:defRPr sz="48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8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92255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847848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3" y="1316707"/>
            <a:ext cx="11328987" cy="5280943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3240" y="2372785"/>
            <a:ext cx="10945520" cy="134425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2495" y="3813054"/>
            <a:ext cx="10946245" cy="1536213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1" y="6117373"/>
            <a:ext cx="1094552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9786019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4" y="3429000"/>
            <a:ext cx="11329573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214" y="1220693"/>
            <a:ext cx="11329573" cy="134418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214" y="2660893"/>
            <a:ext cx="11329573" cy="576080"/>
          </a:xfrm>
        </p:spPr>
        <p:txBody>
          <a:bodyPr tIns="0"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0"/>
            <a:ext cx="11328829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593462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669" y="1900245"/>
            <a:ext cx="5291667" cy="4167187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4533" y="1900245"/>
            <a:ext cx="5257800" cy="4167187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3B3A0AA-399F-4A04-A700-D719ACE82B04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11327717" algn="r"/>
              </a:tabLst>
              <a:defRPr sz="2400">
                <a:solidFill>
                  <a:schemeClr val="tx1"/>
                </a:solidFill>
              </a:defRPr>
            </a:lvl1pPr>
            <a:lvl2pPr marL="478355" indent="0">
              <a:spcBef>
                <a:spcPts val="16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11039724" algn="r"/>
              </a:tabLst>
              <a:defRPr sz="2400">
                <a:solidFill>
                  <a:schemeClr val="bg2"/>
                </a:solidFill>
              </a:defRPr>
            </a:lvl2pPr>
            <a:lvl3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3pPr>
            <a:lvl4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5pPr>
            <a:lvl6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1945928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883"/>
            <a:ext cx="11329573" cy="1919747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12192000" cy="21801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4063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99"/>
            <a:ext cx="12192000" cy="21800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784"/>
            <a:ext cx="11328557" cy="19198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431213" y="2372883"/>
            <a:ext cx="11329512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133" dirty="0" err="1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431214" y="4197085"/>
            <a:ext cx="11328157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2133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363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19626105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8188754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21225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1220694"/>
            <a:ext cx="11329573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4" y="1700760"/>
            <a:ext cx="3647604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271746" y="1701800"/>
            <a:ext cx="3648508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8112280" y="1701800"/>
            <a:ext cx="3648507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20859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31215" y="1700760"/>
            <a:ext cx="26883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3311615" y="1700760"/>
            <a:ext cx="2688372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6192014" y="1700760"/>
            <a:ext cx="2688373" cy="460694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9072414" y="1700760"/>
            <a:ext cx="2688373" cy="460590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4230175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31215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92014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1713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9203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568DB21-436A-4FEE-B711-5271D05AF6BA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9"/>
            <a:ext cx="11328399" cy="268563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4299536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2" y="1221319"/>
            <a:ext cx="11328399" cy="2688168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2619057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8"/>
            <a:ext cx="11328400" cy="268816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401125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6868003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3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515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3515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3515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3516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929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131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1131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1131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32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2351584" y="4101093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3184" y="4101725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40520013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214" y="1316567"/>
            <a:ext cx="11329573" cy="2592917"/>
          </a:xfrm>
        </p:spPr>
        <p:txBody>
          <a:bodyPr anchor="b"/>
          <a:lstStyle>
            <a:lvl1pPr>
              <a:defRPr sz="48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8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841355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596757"/>
            <a:ext cx="11328400" cy="192616"/>
          </a:xfrm>
        </p:spPr>
        <p:txBody>
          <a:bodyPr tIns="0" bIns="36000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333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42852619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1213" y="1524000"/>
            <a:ext cx="11328987" cy="47857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31215" y="260560"/>
            <a:ext cx="9313191" cy="480141"/>
          </a:xfrm>
        </p:spPr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31800" y="836084"/>
            <a:ext cx="9313333" cy="575733"/>
          </a:xfrm>
        </p:spPr>
        <p:txBody>
          <a:bodyPr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nl-B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10991851" y="1028734"/>
            <a:ext cx="742949" cy="273049"/>
          </a:xfrm>
        </p:spPr>
        <p:txBody>
          <a:bodyPr anchor="ctr"/>
          <a:lstStyle>
            <a:lvl1pPr algn="ctr">
              <a:defRPr sz="933"/>
            </a:lvl1pPr>
          </a:lstStyle>
          <a:p>
            <a:pPr lvl="0"/>
            <a:r>
              <a:rPr lang="en-US" dirty="0"/>
              <a:t>Click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672957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3" y="1316707"/>
            <a:ext cx="11328987" cy="5280943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3240" y="2372785"/>
            <a:ext cx="10945520" cy="134425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2495" y="3813054"/>
            <a:ext cx="10946245" cy="1536213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1" y="6117373"/>
            <a:ext cx="1094552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5289950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[Action title</a:t>
            </a:r>
            <a:br>
              <a:rPr lang="en-US" dirty="0"/>
            </a:br>
            <a:r>
              <a:rPr lang="en-US" dirty="0"/>
              <a:t>Maximum two lines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5398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05033"/>
            <a:ext cx="11328400" cy="192616"/>
          </a:xfrm>
        </p:spPr>
        <p:txBody>
          <a:bodyPr tIns="0" bIns="36000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67">
                <a:solidFill>
                  <a:schemeClr val="bg2"/>
                </a:solidFill>
              </a:defRPr>
            </a:lvl1pPr>
            <a:lvl2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400"/>
              </a:spcBef>
              <a:spcAft>
                <a:spcPts val="0"/>
              </a:spcAft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400"/>
              </a:spcBef>
              <a:spcAft>
                <a:spcPts val="0"/>
              </a:spcAft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400"/>
              </a:spcBef>
              <a:buFont typeface="Arial" pitchFamily="34" charset="0"/>
              <a:buNone/>
              <a:defRPr sz="12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0531464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4" y="3429000"/>
            <a:ext cx="11329573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214" y="1220693"/>
            <a:ext cx="11329573" cy="134418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214" y="2660893"/>
            <a:ext cx="11329573" cy="576080"/>
          </a:xfrm>
        </p:spPr>
        <p:txBody>
          <a:bodyPr tIns="0"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0"/>
            <a:ext cx="11328829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0569404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5701766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6720672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err="1"/>
              <a:t>Hoofdstuk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/>
            </a:lvl2pPr>
            <a:lvl3pPr marL="241294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3pPr>
            <a:lvl4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4pPr>
            <a:lvl5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5pPr>
            <a:lvl6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6pPr>
            <a:lvl7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7pPr>
            <a:lvl8pPr>
              <a:defRPr sz="2133"/>
            </a:lvl8pPr>
            <a:lvl9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9pPr>
          </a:lstStyle>
          <a:p>
            <a:pPr lvl="0"/>
            <a:r>
              <a:rPr lang="en-US" noProof="0" dirty="0" err="1"/>
              <a:t>Subtitel</a:t>
            </a:r>
            <a:endParaRPr lang="en-US" noProof="0" dirty="0"/>
          </a:p>
          <a:p>
            <a:pPr lvl="1"/>
            <a:r>
              <a:rPr lang="en-US" noProof="0" dirty="0" err="1"/>
              <a:t>Tekst</a:t>
            </a:r>
            <a:endParaRPr lang="en-US" noProof="0" dirty="0"/>
          </a:p>
          <a:p>
            <a:pPr lvl="2"/>
            <a:r>
              <a:rPr lang="en-US" noProof="0" dirty="0" err="1"/>
              <a:t>Tekst</a:t>
            </a:r>
            <a:endParaRPr lang="en-US" noProof="0" dirty="0"/>
          </a:p>
          <a:p>
            <a:pPr lvl="3"/>
            <a:r>
              <a:rPr lang="en-US" noProof="0" dirty="0" err="1"/>
              <a:t>Tekst</a:t>
            </a:r>
            <a:endParaRPr lang="en-US" noProof="0" dirty="0"/>
          </a:p>
          <a:p>
            <a:pPr lvl="4"/>
            <a:r>
              <a:rPr lang="en-US" noProof="0" dirty="0" err="1"/>
              <a:t>Tekst</a:t>
            </a:r>
            <a:endParaRPr lang="en-US" noProof="0" dirty="0"/>
          </a:p>
          <a:p>
            <a:pPr lvl="5"/>
            <a:r>
              <a:rPr lang="en-US" noProof="0" dirty="0" err="1"/>
              <a:t>Tekst</a:t>
            </a:r>
            <a:endParaRPr lang="en-US" noProof="0" dirty="0"/>
          </a:p>
          <a:p>
            <a:pPr lvl="6"/>
            <a:r>
              <a:rPr lang="en-US" noProof="0" dirty="0" err="1"/>
              <a:t>Tekst</a:t>
            </a:r>
            <a:endParaRPr lang="en-US" noProof="0" dirty="0"/>
          </a:p>
          <a:p>
            <a:pPr lvl="6"/>
            <a:r>
              <a:rPr lang="en-US" noProof="0" dirty="0" err="1"/>
              <a:t>Tekst</a:t>
            </a:r>
            <a:endParaRPr lang="en-US" noProof="0" dirty="0"/>
          </a:p>
          <a:p>
            <a:pPr lvl="8"/>
            <a:r>
              <a:rPr lang="en-US" noProof="0" dirty="0" err="1"/>
              <a:t>Tekst</a:t>
            </a:r>
            <a:endParaRPr lang="en-US" noProof="0" dirty="0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05413"/>
            <a:ext cx="11328400" cy="192616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437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err="1"/>
              <a:t>Hoofdstuk</a:t>
            </a:r>
            <a:r>
              <a:rPr lang="en-US" dirty="0"/>
              <a:t> </a:t>
            </a:r>
            <a:r>
              <a:rPr lang="en-US" dirty="0" err="1"/>
              <a:t>titel</a:t>
            </a:r>
            <a:endParaRPr lang="en-US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05413"/>
            <a:ext cx="11328400" cy="192616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431801" y="1220694"/>
            <a:ext cx="3647017" cy="5089089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/>
            </a:lvl2pPr>
            <a:lvl3pPr marL="241294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3pPr>
            <a:lvl4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4pPr>
            <a:lvl5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5pPr>
            <a:lvl6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6pPr>
            <a:lvl7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7pPr>
            <a:lvl8pPr>
              <a:defRPr sz="2133"/>
            </a:lvl8pPr>
            <a:lvl9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9pPr>
          </a:lstStyle>
          <a:p>
            <a:pPr lvl="0"/>
            <a:r>
              <a:rPr lang="en-US" noProof="0" dirty="0" err="1"/>
              <a:t>Subtitel</a:t>
            </a:r>
            <a:endParaRPr lang="en-US" noProof="0" dirty="0"/>
          </a:p>
          <a:p>
            <a:pPr lvl="1"/>
            <a:r>
              <a:rPr lang="en-US" noProof="0" dirty="0" err="1"/>
              <a:t>Tekst</a:t>
            </a:r>
            <a:endParaRPr lang="en-US" noProof="0" dirty="0"/>
          </a:p>
          <a:p>
            <a:pPr lvl="2"/>
            <a:r>
              <a:rPr lang="en-US" noProof="0" dirty="0" err="1"/>
              <a:t>Tekst</a:t>
            </a:r>
            <a:endParaRPr lang="en-US" noProof="0" dirty="0"/>
          </a:p>
          <a:p>
            <a:pPr lvl="3"/>
            <a:r>
              <a:rPr lang="en-US" noProof="0" dirty="0" err="1"/>
              <a:t>Tekst</a:t>
            </a:r>
            <a:endParaRPr lang="en-US" noProof="0" dirty="0"/>
          </a:p>
          <a:p>
            <a:pPr lvl="4"/>
            <a:r>
              <a:rPr lang="en-US" noProof="0" dirty="0" err="1"/>
              <a:t>Tekst</a:t>
            </a:r>
            <a:endParaRPr lang="en-US" noProof="0" dirty="0"/>
          </a:p>
          <a:p>
            <a:pPr lvl="5"/>
            <a:r>
              <a:rPr lang="en-US" noProof="0" dirty="0" err="1"/>
              <a:t>Tekst</a:t>
            </a:r>
            <a:endParaRPr lang="en-US" noProof="0" dirty="0"/>
          </a:p>
          <a:p>
            <a:pPr lvl="6"/>
            <a:r>
              <a:rPr lang="en-US" noProof="0" dirty="0" err="1"/>
              <a:t>Tekst</a:t>
            </a:r>
            <a:endParaRPr lang="en-US" noProof="0" dirty="0"/>
          </a:p>
          <a:p>
            <a:pPr lvl="6"/>
            <a:r>
              <a:rPr lang="en-US" noProof="0" dirty="0" err="1"/>
              <a:t>Tekst</a:t>
            </a:r>
            <a:endParaRPr lang="en-US" noProof="0" dirty="0"/>
          </a:p>
          <a:p>
            <a:pPr lvl="8"/>
            <a:r>
              <a:rPr lang="en-US" noProof="0" dirty="0" err="1"/>
              <a:t>Tekst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4271748" y="1220694"/>
            <a:ext cx="3647017" cy="5089089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/>
            </a:lvl2pPr>
            <a:lvl3pPr marL="241294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3pPr>
            <a:lvl4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4pPr>
            <a:lvl5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5pPr>
            <a:lvl6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6pPr>
            <a:lvl7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7pPr>
            <a:lvl8pPr>
              <a:defRPr sz="2133"/>
            </a:lvl8pPr>
            <a:lvl9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9pPr>
          </a:lstStyle>
          <a:p>
            <a:pPr lvl="0"/>
            <a:r>
              <a:rPr lang="en-US" noProof="0" dirty="0" err="1"/>
              <a:t>Subtitel</a:t>
            </a:r>
            <a:endParaRPr lang="en-US" noProof="0" dirty="0"/>
          </a:p>
          <a:p>
            <a:pPr lvl="1"/>
            <a:r>
              <a:rPr lang="en-US" noProof="0" dirty="0" err="1"/>
              <a:t>Tekst</a:t>
            </a:r>
            <a:endParaRPr lang="en-US" noProof="0" dirty="0"/>
          </a:p>
          <a:p>
            <a:pPr lvl="2"/>
            <a:r>
              <a:rPr lang="en-US" noProof="0" dirty="0" err="1"/>
              <a:t>Tekst</a:t>
            </a:r>
            <a:endParaRPr lang="en-US" noProof="0" dirty="0"/>
          </a:p>
          <a:p>
            <a:pPr lvl="3"/>
            <a:r>
              <a:rPr lang="en-US" noProof="0" dirty="0" err="1"/>
              <a:t>Tekst</a:t>
            </a:r>
            <a:endParaRPr lang="en-US" noProof="0" dirty="0"/>
          </a:p>
          <a:p>
            <a:pPr lvl="4"/>
            <a:r>
              <a:rPr lang="en-US" noProof="0" dirty="0" err="1"/>
              <a:t>Tekst</a:t>
            </a:r>
            <a:endParaRPr lang="en-US" noProof="0" dirty="0"/>
          </a:p>
          <a:p>
            <a:pPr lvl="5"/>
            <a:r>
              <a:rPr lang="en-US" noProof="0" dirty="0" err="1"/>
              <a:t>Tekst</a:t>
            </a:r>
            <a:endParaRPr lang="en-US" noProof="0" dirty="0"/>
          </a:p>
          <a:p>
            <a:pPr lvl="6"/>
            <a:r>
              <a:rPr lang="en-US" noProof="0" dirty="0" err="1"/>
              <a:t>Tekst</a:t>
            </a:r>
            <a:endParaRPr lang="en-US" noProof="0" dirty="0"/>
          </a:p>
          <a:p>
            <a:pPr lvl="6"/>
            <a:r>
              <a:rPr lang="en-US" noProof="0" dirty="0" err="1"/>
              <a:t>Tekst</a:t>
            </a:r>
            <a:endParaRPr lang="en-US" noProof="0" dirty="0"/>
          </a:p>
          <a:p>
            <a:pPr lvl="8"/>
            <a:r>
              <a:rPr lang="en-US" noProof="0" dirty="0" err="1"/>
              <a:t>Tekst</a:t>
            </a:r>
            <a:endParaRPr lang="en-US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8112281" y="1220694"/>
            <a:ext cx="3647017" cy="5089089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/>
            </a:lvl2pPr>
            <a:lvl3pPr marL="241294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3pPr>
            <a:lvl4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4pPr>
            <a:lvl5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5pPr>
            <a:lvl6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6pPr>
            <a:lvl7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7pPr>
            <a:lvl8pPr>
              <a:defRPr sz="2133"/>
            </a:lvl8pPr>
            <a:lvl9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9pPr>
          </a:lstStyle>
          <a:p>
            <a:pPr lvl="0"/>
            <a:r>
              <a:rPr lang="en-US" noProof="0" dirty="0" err="1"/>
              <a:t>Subtitel</a:t>
            </a:r>
            <a:endParaRPr lang="en-US" noProof="0" dirty="0"/>
          </a:p>
          <a:p>
            <a:pPr lvl="1"/>
            <a:r>
              <a:rPr lang="en-US" noProof="0" dirty="0" err="1"/>
              <a:t>Tekst</a:t>
            </a:r>
            <a:endParaRPr lang="en-US" noProof="0" dirty="0"/>
          </a:p>
          <a:p>
            <a:pPr lvl="2"/>
            <a:r>
              <a:rPr lang="en-US" noProof="0" dirty="0" err="1"/>
              <a:t>Tekst</a:t>
            </a:r>
            <a:endParaRPr lang="en-US" noProof="0" dirty="0"/>
          </a:p>
          <a:p>
            <a:pPr lvl="3"/>
            <a:r>
              <a:rPr lang="en-US" noProof="0" dirty="0" err="1"/>
              <a:t>Tekst</a:t>
            </a:r>
            <a:endParaRPr lang="en-US" noProof="0" dirty="0"/>
          </a:p>
          <a:p>
            <a:pPr lvl="4"/>
            <a:r>
              <a:rPr lang="en-US" noProof="0" dirty="0" err="1"/>
              <a:t>Tekst</a:t>
            </a:r>
            <a:endParaRPr lang="en-US" noProof="0" dirty="0"/>
          </a:p>
          <a:p>
            <a:pPr lvl="5"/>
            <a:r>
              <a:rPr lang="en-US" noProof="0" dirty="0" err="1"/>
              <a:t>Tekst</a:t>
            </a:r>
            <a:endParaRPr lang="en-US" noProof="0" dirty="0"/>
          </a:p>
          <a:p>
            <a:pPr lvl="6"/>
            <a:r>
              <a:rPr lang="en-US" noProof="0" dirty="0" err="1"/>
              <a:t>Tekst</a:t>
            </a:r>
            <a:endParaRPr lang="en-US" noProof="0" dirty="0"/>
          </a:p>
          <a:p>
            <a:pPr lvl="6"/>
            <a:r>
              <a:rPr lang="en-US" noProof="0" dirty="0" err="1"/>
              <a:t>Tekst</a:t>
            </a:r>
            <a:endParaRPr lang="en-US" noProof="0" dirty="0"/>
          </a:p>
          <a:p>
            <a:pPr lvl="8"/>
            <a:r>
              <a:rPr lang="en-US" noProof="0" dirty="0" err="1"/>
              <a:t>Teks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575582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0494424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noProof="0" dirty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31371" y="1268700"/>
            <a:ext cx="5569380" cy="5328592"/>
          </a:xfrm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192015" y="1268700"/>
            <a:ext cx="5569380" cy="5328592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>
              <a:defRPr sz="2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7179806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205" y="6289717"/>
            <a:ext cx="876609" cy="36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070425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1739901"/>
            <a:ext cx="11294532" cy="4220633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2667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2967" y="452966"/>
            <a:ext cx="11294533" cy="369332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10"/>
          <p:cNvSpPr>
            <a:spLocks noGrp="1"/>
          </p:cNvSpPr>
          <p:nvPr>
            <p:ph sz="quarter" idx="10"/>
          </p:nvPr>
        </p:nvSpPr>
        <p:spPr>
          <a:xfrm>
            <a:off x="453100" y="933451"/>
            <a:ext cx="11294400" cy="51706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latin typeface="Helvetica 75 Bold" panose="020B0804020202020204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>
                    <a:tint val="75000"/>
                  </a:srgbClr>
                </a:solidFill>
                <a:cs typeface="Arial" panose="020B0604020202020204" pitchFamily="34" charset="0"/>
              </a:rPr>
              <a:t>MBB Concept Test 2016</a:t>
            </a:r>
            <a:endParaRPr lang="en-US" dirty="0">
              <a:solidFill>
                <a:srgbClr val="000000">
                  <a:tint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Helvetica 75 Bold" panose="020B0804020202020204" pitchFamily="34" charset="0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0000">
                    <a:tint val="75000"/>
                  </a:srgbClr>
                </a:solidFill>
                <a:cs typeface="Arial" panose="020B0604020202020204" pitchFamily="34" charset="0"/>
              </a:rPr>
              <a:t>Survey questions</a:t>
            </a:r>
            <a:endParaRPr lang="en-US" dirty="0">
              <a:solidFill>
                <a:srgbClr val="000000">
                  <a:tint val="75000"/>
                </a:srgbClr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205" y="6289717"/>
            <a:ext cx="876609" cy="36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31431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/>
            </a:lvl2pPr>
            <a:lvl3pPr marL="241294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3pPr>
            <a:lvl4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4pPr>
            <a:lvl5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5pPr>
            <a:lvl6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6pPr>
            <a:lvl7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7pPr>
            <a:lvl8pPr>
              <a:defRPr sz="2133"/>
            </a:lvl8pPr>
            <a:lvl9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596757"/>
            <a:ext cx="11328400" cy="192616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333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5055770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1739900"/>
            <a:ext cx="11294532" cy="4220633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latin typeface="Helvetica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latin typeface="Helvetica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latin typeface="Helvetica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latin typeface="Helvetica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453100" y="933451"/>
            <a:ext cx="11294400" cy="51706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>
          <a:xfrm>
            <a:off x="2543606" y="6269741"/>
            <a:ext cx="6240693" cy="366183"/>
          </a:xfrm>
          <a:prstGeom prst="rect">
            <a:avLst/>
          </a:prstGeom>
        </p:spPr>
        <p:txBody>
          <a:bodyPr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>
                    <a:tint val="75000"/>
                  </a:srgbClr>
                </a:solidFill>
                <a:latin typeface="Arial"/>
                <a:cs typeface="Arial" panose="020B0604020202020204" pitchFamily="34" charset="0"/>
              </a:rPr>
              <a:t>Survey question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1027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836713"/>
            <a:ext cx="8737128" cy="7683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1467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31215" y="356571"/>
            <a:ext cx="8737127" cy="384131"/>
          </a:xfrm>
        </p:spPr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0991851" y="1028734"/>
            <a:ext cx="742949" cy="279367"/>
          </a:xfrm>
        </p:spPr>
        <p:txBody>
          <a:bodyPr anchor="ctr"/>
          <a:lstStyle>
            <a:lvl1pPr algn="ctr">
              <a:defRPr sz="933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3071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/>
            </a:lvl2pPr>
            <a:lvl3pPr marL="241294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3pPr>
            <a:lvl4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4pPr>
            <a:lvl5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5pPr>
            <a:lvl6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6pPr>
            <a:lvl7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7pPr>
            <a:lvl8pPr>
              <a:defRPr sz="2133"/>
            </a:lvl8pPr>
            <a:lvl9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05413"/>
            <a:ext cx="11328400" cy="192616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380917862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/>
            </a:lvl2pPr>
            <a:lvl3pPr marL="241294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3pPr>
            <a:lvl4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4pPr>
            <a:lvl5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5pPr>
            <a:lvl6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6pPr>
            <a:lvl7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7pPr>
            <a:lvl8pPr>
              <a:defRPr sz="2133"/>
            </a:lvl8pPr>
            <a:lvl9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05413"/>
            <a:ext cx="11328400" cy="192616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67">
                <a:solidFill>
                  <a:schemeClr val="bg2"/>
                </a:solidFill>
              </a:defRPr>
            </a:lvl4pPr>
            <a:lvl5pPr marL="0" indent="0">
              <a:spcBef>
                <a:spcPts val="400"/>
              </a:spcBef>
              <a:spcAft>
                <a:spcPts val="0"/>
              </a:spcAft>
              <a:buNone/>
              <a:defRPr sz="12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1067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22977713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 + texte puc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 AXA" descr="\\Mac\AllFiles\Volumes\DOSSIERS EN COURS\17_1098 AXA_Creation_gabarits\elements\png\new_logo_axa_rgb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37032" y="6302818"/>
            <a:ext cx="279961" cy="280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ommaire"/>
          <p:cNvSpPr>
            <a:spLocks noGrp="1"/>
          </p:cNvSpPr>
          <p:nvPr>
            <p:ph type="title" hasCustomPrompt="1"/>
          </p:nvPr>
        </p:nvSpPr>
        <p:spPr>
          <a:xfrm>
            <a:off x="365193" y="428780"/>
            <a:ext cx="11574096" cy="44964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965">
                <a:solidFill>
                  <a:srgbClr val="00008F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365195" y="899284"/>
            <a:ext cx="11573957" cy="33723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2341">
                <a:solidFill>
                  <a:srgbClr val="027180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3" hasCustomPrompt="1"/>
          </p:nvPr>
        </p:nvSpPr>
        <p:spPr>
          <a:xfrm>
            <a:off x="366979" y="1627165"/>
            <a:ext cx="11572312" cy="438756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"/>
              <a:defRPr sz="2185">
                <a:latin typeface="+mj-lt"/>
              </a:defRPr>
            </a:lvl1pPr>
            <a:lvl2pPr>
              <a:lnSpc>
                <a:spcPct val="100000"/>
              </a:lnSpc>
              <a:buClr>
                <a:srgbClr val="027180"/>
              </a:buClr>
              <a:buSzPct val="85000"/>
              <a:buFont typeface="fleche_rond" pitchFamily="2" charset="0"/>
              <a:buChar char=""/>
              <a:defRPr sz="1873">
                <a:latin typeface="+mj-lt"/>
              </a:defRPr>
            </a:lvl2pPr>
            <a:lvl3pPr marL="1261046" indent="-279958">
              <a:lnSpc>
                <a:spcPct val="100000"/>
              </a:lnSpc>
              <a:buFont typeface="Source Sans Pro" pitchFamily="34" charset="0"/>
              <a:buChar char="–"/>
              <a:defRPr sz="1561">
                <a:latin typeface="+mj-lt"/>
              </a:defRPr>
            </a:lvl3pPr>
            <a:lvl4pPr marL="1399786" indent="-138739">
              <a:lnSpc>
                <a:spcPct val="100000"/>
              </a:lnSpc>
              <a:buFont typeface="Source Sans Pro" pitchFamily="34" charset="0"/>
              <a:buChar char="•"/>
              <a:defRPr sz="1248">
                <a:latin typeface="+mj-lt"/>
              </a:defRPr>
            </a:lvl4pPr>
            <a:lvl5pPr marL="1677266" indent="-138739">
              <a:lnSpc>
                <a:spcPct val="100000"/>
              </a:lnSpc>
              <a:buFont typeface="Source Sans Pro" pitchFamily="34" charset="0"/>
              <a:buChar char="&gt;"/>
              <a:defRPr sz="936">
                <a:latin typeface="+mj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 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2" name="Espace réservé du numéro de diapositive 4"/>
          <p:cNvSpPr>
            <a:spLocks noGrp="1"/>
          </p:cNvSpPr>
          <p:nvPr>
            <p:ph type="sldNum" sz="quarter" idx="14"/>
          </p:nvPr>
        </p:nvSpPr>
        <p:spPr>
          <a:xfrm>
            <a:off x="364200" y="6406913"/>
            <a:ext cx="336947" cy="225543"/>
          </a:xfrm>
        </p:spPr>
        <p:txBody>
          <a:bodyPr anchor="ctr"/>
          <a:lstStyle>
            <a:lvl1pPr>
              <a:defRPr>
                <a:latin typeface="+mj-lt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fld id="{438FEFB8-6B6E-4DC1-A5E4-A1258711B442}" type="slidenum">
              <a:rPr lang="en-GB" smtClean="0">
                <a:solidFill>
                  <a:srgbClr val="000000"/>
                </a:solidFill>
                <a:cs typeface="Arial" panose="020B0604020202020204" pitchFamily="34" charset="0"/>
              </a:rPr>
              <a:pPr algn="l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sz="1248">
                <a:solidFill>
                  <a:srgbClr val="FF0000"/>
                </a:solidFill>
                <a:latin typeface="+mj-lt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fr-FR">
                <a:cs typeface="Arial" panose="020B0604020202020204" pitchFamily="34" charset="0"/>
              </a:rPr>
              <a:t>CONFIDENTIALITY LEVEL</a:t>
            </a:r>
            <a:endParaRPr lang="fr-FR" dirty="0">
              <a:cs typeface="Arial" panose="020B0604020202020204" pitchFamily="34" charset="0"/>
            </a:endParaRPr>
          </a:p>
        </p:txBody>
      </p:sp>
      <p:sp>
        <p:nvSpPr>
          <p:cNvPr id="10" name="Espace réservé de la date 1"/>
          <p:cNvSpPr>
            <a:spLocks noGrp="1"/>
          </p:cNvSpPr>
          <p:nvPr>
            <p:ph type="dt" sz="half" idx="2"/>
          </p:nvPr>
        </p:nvSpPr>
        <p:spPr>
          <a:xfrm>
            <a:off x="609476" y="6340935"/>
            <a:ext cx="2844221" cy="36433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48">
                <a:solidFill>
                  <a:srgbClr val="000000"/>
                </a:solidFill>
                <a:latin typeface="+mj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fr-FR" dirty="0" err="1">
                <a:cs typeface="Arial" panose="020B0604020202020204" pitchFamily="34" charset="0"/>
              </a:rPr>
              <a:t>Title</a:t>
            </a:r>
            <a:r>
              <a:rPr lang="fr-FR" dirty="0">
                <a:cs typeface="Arial" panose="020B0604020202020204" pitchFamily="34" charset="0"/>
              </a:rPr>
              <a:t> of the </a:t>
            </a:r>
            <a:r>
              <a:rPr lang="fr-FR" dirty="0" err="1">
                <a:cs typeface="Arial" panose="020B0604020202020204" pitchFamily="34" charset="0"/>
              </a:rPr>
              <a:t>presentation</a:t>
            </a:r>
            <a:r>
              <a:rPr lang="fr-FR" dirty="0">
                <a:cs typeface="Arial" panose="020B0604020202020204" pitchFamily="34" charset="0"/>
              </a:rPr>
              <a:t> l </a:t>
            </a:r>
            <a:fld id="{06D04499-820C-4FAB-8609-8499D6831C4B}" type="datetime1">
              <a:rPr lang="nl-BE" smtClean="0"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5/04/2019</a:t>
            </a:fld>
            <a:endParaRPr lang="fr-FR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428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6894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9" y="452967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4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535504" indent="-535504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4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3pPr>
            <a:lvl4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4pPr>
            <a:lvl5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0205" y="6289717"/>
            <a:ext cx="876609" cy="36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468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1999" cy="687679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Freeform 24"/>
          <p:cNvSpPr>
            <a:spLocks/>
          </p:cNvSpPr>
          <p:nvPr userDrawn="1"/>
        </p:nvSpPr>
        <p:spPr bwMode="auto">
          <a:xfrm>
            <a:off x="-32679" y="-12427"/>
            <a:ext cx="6726255" cy="6915951"/>
          </a:xfrm>
          <a:custGeom>
            <a:avLst/>
            <a:gdLst>
              <a:gd name="T0" fmla="*/ 0 w 3674"/>
              <a:gd name="T1" fmla="*/ 0 h 4354"/>
              <a:gd name="T2" fmla="*/ 0 w 3674"/>
              <a:gd name="T3" fmla="*/ 2147483647 h 4354"/>
              <a:gd name="T4" fmla="*/ 2147483647 w 3674"/>
              <a:gd name="T5" fmla="*/ 2147483647 h 4354"/>
              <a:gd name="T6" fmla="*/ 2147483647 w 3674"/>
              <a:gd name="T7" fmla="*/ 0 h 4354"/>
              <a:gd name="T8" fmla="*/ 0 w 3674"/>
              <a:gd name="T9" fmla="*/ 0 h 43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6808 w 10000"/>
              <a:gd name="connsiteY2" fmla="*/ 9909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9908"/>
              <a:gd name="connsiteY0" fmla="*/ 0 h 10000"/>
              <a:gd name="connsiteX1" fmla="*/ 0 w 9908"/>
              <a:gd name="connsiteY1" fmla="*/ 10000 h 10000"/>
              <a:gd name="connsiteX2" fmla="*/ 6808 w 9908"/>
              <a:gd name="connsiteY2" fmla="*/ 9909 h 10000"/>
              <a:gd name="connsiteX3" fmla="*/ 9908 w 9908"/>
              <a:gd name="connsiteY3" fmla="*/ 73 h 10000"/>
              <a:gd name="connsiteX4" fmla="*/ 0 w 9908"/>
              <a:gd name="connsiteY4" fmla="*/ 0 h 10000"/>
              <a:gd name="connsiteX0" fmla="*/ 0 w 9981"/>
              <a:gd name="connsiteY0" fmla="*/ 18 h 10018"/>
              <a:gd name="connsiteX1" fmla="*/ 0 w 9981"/>
              <a:gd name="connsiteY1" fmla="*/ 10018 h 10018"/>
              <a:gd name="connsiteX2" fmla="*/ 6871 w 9981"/>
              <a:gd name="connsiteY2" fmla="*/ 9927 h 10018"/>
              <a:gd name="connsiteX3" fmla="*/ 9981 w 9981"/>
              <a:gd name="connsiteY3" fmla="*/ 0 h 10018"/>
              <a:gd name="connsiteX4" fmla="*/ 0 w 9981"/>
              <a:gd name="connsiteY4" fmla="*/ 18 h 10018"/>
              <a:gd name="connsiteX0" fmla="*/ 0 w 10000"/>
              <a:gd name="connsiteY0" fmla="*/ 18 h 10000"/>
              <a:gd name="connsiteX1" fmla="*/ 0 w 10000"/>
              <a:gd name="connsiteY1" fmla="*/ 10000 h 10000"/>
              <a:gd name="connsiteX2" fmla="*/ 6884 w 10000"/>
              <a:gd name="connsiteY2" fmla="*/ 9963 h 10000"/>
              <a:gd name="connsiteX3" fmla="*/ 10000 w 10000"/>
              <a:gd name="connsiteY3" fmla="*/ 0 h 10000"/>
              <a:gd name="connsiteX4" fmla="*/ 0 w 10000"/>
              <a:gd name="connsiteY4" fmla="*/ 1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8"/>
                </a:moveTo>
                <a:lnTo>
                  <a:pt x="0" y="10000"/>
                </a:lnTo>
                <a:lnTo>
                  <a:pt x="6884" y="9963"/>
                </a:lnTo>
                <a:lnTo>
                  <a:pt x="10000" y="0"/>
                </a:lnTo>
                <a:lnTo>
                  <a:pt x="0" y="18"/>
                </a:lnTo>
                <a:close/>
              </a:path>
            </a:pathLst>
          </a:custGeom>
          <a:solidFill>
            <a:srgbClr val="FFFFFF">
              <a:alpha val="89804"/>
            </a:srgbClr>
          </a:solidFill>
          <a:ln>
            <a:noFill/>
          </a:ln>
          <a:extLst/>
        </p:spPr>
        <p:txBody>
          <a:bodyPr/>
          <a:lstStyle/>
          <a:p>
            <a:pPr algn="l" eaLnBrk="0" hangingPunct="0"/>
            <a:endParaRPr lang="nl-BE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26" descr="infrabel_logo_color_POS_RGB_15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285" y="298451"/>
            <a:ext cx="3048953" cy="813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77333" y="1916113"/>
            <a:ext cx="5689600" cy="144145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1567" y="3382964"/>
            <a:ext cx="5448300" cy="503237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0606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Arial" pitchFamily="34" charset="0"/>
              <a:buChar char="•"/>
              <a:defRPr sz="2000"/>
            </a:lvl1pPr>
            <a:lvl2pPr>
              <a:defRPr sz="2000"/>
            </a:lvl2pPr>
            <a:lvl4pPr>
              <a:defRPr sz="2000" i="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8539E76-19B0-4CB4-842B-1223C757FE0D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338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allpaper copy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E2E3C60-9B61-4EB5-B447-9DF560732BD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0248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9667" y="1900239"/>
            <a:ext cx="5291667" cy="4167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4533" y="1900239"/>
            <a:ext cx="5293784" cy="4167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863600" y="6321426"/>
            <a:ext cx="3041651" cy="252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fr-FR" altLang="en-US">
                <a:solidFill>
                  <a:srgbClr val="000000"/>
                </a:solidFill>
              </a:rPr>
              <a:t>06/06/2017</a:t>
            </a: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430184" y="6321426"/>
            <a:ext cx="3359149" cy="252413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l">
              <a:defRPr/>
            </a:pPr>
            <a:r>
              <a:rPr lang="en-GB">
                <a:solidFill>
                  <a:srgbClr val="000000"/>
                </a:solidFill>
              </a:rPr>
              <a:t>Edit via Insert &gt; Header &amp; Footer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FE17297-375B-4967-8EDA-8F2BC1376D8C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3478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85794"/>
            <a:ext cx="10972800" cy="6318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63600" y="6321426"/>
            <a:ext cx="3041651" cy="252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fr-FR" altLang="en-US">
                <a:solidFill>
                  <a:srgbClr val="000000"/>
                </a:solidFill>
              </a:rPr>
              <a:t>06/06/2017</a:t>
            </a: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430184" y="6321426"/>
            <a:ext cx="3359149" cy="252413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l">
              <a:defRPr/>
            </a:pPr>
            <a:r>
              <a:rPr lang="en-GB">
                <a:solidFill>
                  <a:srgbClr val="000000"/>
                </a:solidFill>
              </a:rPr>
              <a:t>Edit via Insert &gt; Header &amp; Footer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F30D97-B4F6-437E-87CB-04E685ABEDB5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4609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63600" y="6321426"/>
            <a:ext cx="3041651" cy="252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fr-FR" altLang="en-US">
                <a:solidFill>
                  <a:srgbClr val="000000"/>
                </a:solidFill>
              </a:rPr>
              <a:t>06/06/2017</a:t>
            </a: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430184" y="6321426"/>
            <a:ext cx="3359149" cy="252413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l">
              <a:defRPr/>
            </a:pPr>
            <a:r>
              <a:rPr lang="en-GB">
                <a:solidFill>
                  <a:srgbClr val="000000"/>
                </a:solidFill>
              </a:rPr>
              <a:t>Edit via Insert &gt; Header &amp; Footer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21E1113-C769-45BE-A0EC-7A8739DF0FFB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8230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79920D2-5BF5-44E6-BA34-2491497C8B90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4824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785794"/>
            <a:ext cx="4011084" cy="64930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863600" y="6321426"/>
            <a:ext cx="3041651" cy="252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fr-FR" altLang="en-US">
                <a:solidFill>
                  <a:srgbClr val="000000"/>
                </a:solidFill>
              </a:rPr>
              <a:t>06/06/2017</a:t>
            </a: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430184" y="6321426"/>
            <a:ext cx="3359149" cy="252413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l">
              <a:defRPr/>
            </a:pPr>
            <a:r>
              <a:rPr lang="en-GB">
                <a:solidFill>
                  <a:srgbClr val="000000"/>
                </a:solidFill>
              </a:rPr>
              <a:t>Edit via Insert &gt; Header &amp; Footer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102989-079A-465C-B6A5-086ED34160EE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706288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7" y="1003300"/>
            <a:ext cx="10782300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19667" y="1900239"/>
            <a:ext cx="10788651" cy="4167187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nl-BE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63600" y="6321426"/>
            <a:ext cx="2878667" cy="252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l">
              <a:defRPr/>
            </a:pPr>
            <a:r>
              <a:rPr lang="fr-FR" altLang="en-US">
                <a:solidFill>
                  <a:srgbClr val="000000"/>
                </a:solidFill>
              </a:rPr>
              <a:t>06/06/2017</a:t>
            </a:r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30184" y="6321426"/>
            <a:ext cx="3359149" cy="252413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l">
              <a:defRPr/>
            </a:pPr>
            <a:r>
              <a:rPr lang="en-GB">
                <a:solidFill>
                  <a:srgbClr val="000000"/>
                </a:solidFill>
              </a:rPr>
              <a:t>Edit via Insert &gt; 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727429-C151-4119-8EED-8DAEFE390904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258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973003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3" y="1316707"/>
            <a:ext cx="11328987" cy="5280943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3240" y="2372785"/>
            <a:ext cx="10945520" cy="134425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2495" y="3813054"/>
            <a:ext cx="10946245" cy="1536213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1" y="6117373"/>
            <a:ext cx="1094552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147413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image" Target="../media/image5.emf"/><Relationship Id="rId3" Type="http://schemas.openxmlformats.org/officeDocument/2006/relationships/slideLayout" Target="../slideLayouts/slideLayout10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tags" Target="../tags/tag2.xml"/><Relationship Id="rId28" Type="http://schemas.openxmlformats.org/officeDocument/2006/relationships/image" Target="../media/image1.wmf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tags" Target="../tags/tag1.xml"/><Relationship Id="rId27" Type="http://schemas.openxmlformats.org/officeDocument/2006/relationships/image" Target="../media/image6.w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9" Type="http://schemas.openxmlformats.org/officeDocument/2006/relationships/slideLayout" Target="../slideLayouts/slideLayout65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42" Type="http://schemas.openxmlformats.org/officeDocument/2006/relationships/theme" Target="../theme/theme3.xml"/><Relationship Id="rId47" Type="http://schemas.openxmlformats.org/officeDocument/2006/relationships/oleObject" Target="../embeddings/oleObject4.bin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38" Type="http://schemas.openxmlformats.org/officeDocument/2006/relationships/slideLayout" Target="../slideLayouts/slideLayout64.xml"/><Relationship Id="rId46" Type="http://schemas.openxmlformats.org/officeDocument/2006/relationships/tags" Target="../tags/tag8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41" Type="http://schemas.openxmlformats.org/officeDocument/2006/relationships/slideLayout" Target="../slideLayouts/slideLayout67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66.xml"/><Relationship Id="rId45" Type="http://schemas.openxmlformats.org/officeDocument/2006/relationships/tags" Target="../tags/tag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49" Type="http://schemas.openxmlformats.org/officeDocument/2006/relationships/image" Target="../media/image6.w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4" Type="http://schemas.openxmlformats.org/officeDocument/2006/relationships/tags" Target="../tags/tag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Relationship Id="rId43" Type="http://schemas.openxmlformats.org/officeDocument/2006/relationships/vmlDrawing" Target="../drawings/vmlDrawing4.vml"/><Relationship Id="rId48" Type="http://schemas.openxmlformats.org/officeDocument/2006/relationships/image" Target="../media/image5.emf"/><Relationship Id="rId8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71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9669" y="981082"/>
            <a:ext cx="10752667" cy="88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669" y="1916113"/>
            <a:ext cx="10752667" cy="415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62104" y="6453343"/>
            <a:ext cx="590549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 b="0">
                <a:latin typeface="Calibri" panose="020F0502020204030204" pitchFamily="34" charset="0"/>
              </a:defRPr>
            </a:lvl1pPr>
          </a:lstStyle>
          <a:p>
            <a:fld id="{DE2E3C60-9B61-4EB5-B447-9DF560732BD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17" descr="infrabel_logo_color_POS_RGB_90"/>
          <p:cNvPicPr>
            <a:picLocks noChangeAspect="1" noChangeArrowheads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408" y="303213"/>
            <a:ext cx="1619250" cy="4318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63" r:id="rId6"/>
    <p:sldLayoutId id="2147483664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FontTx/>
        <a:buNone/>
        <a:defRPr sz="20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177800" indent="-177800" algn="l" rtl="0" eaLnBrk="1" fontAlgn="base" hangingPunct="1">
        <a:spcBef>
          <a:spcPts val="0"/>
        </a:spcBef>
        <a:spcAft>
          <a:spcPts val="600"/>
        </a:spcAft>
        <a:buSzPct val="100000"/>
        <a:buFont typeface="Arial" pitchFamily="34" charset="0"/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541338" indent="-363538" algn="l" rtl="0" eaLnBrk="1" fontAlgn="base" hangingPunct="1">
        <a:spcBef>
          <a:spcPts val="0"/>
        </a:spcBef>
        <a:spcAft>
          <a:spcPts val="600"/>
        </a:spcAft>
        <a:buFont typeface="Wingdings" pitchFamily="2" charset="2"/>
        <a:buChar char="à"/>
        <a:tabLst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715963" indent="-177800" algn="l" rtl="0" eaLnBrk="1" fontAlgn="base" hangingPunct="1">
        <a:spcBef>
          <a:spcPts val="0"/>
        </a:spcBef>
        <a:spcAft>
          <a:spcPts val="600"/>
        </a:spcAft>
        <a:buFont typeface="Arial" pitchFamily="34" charset="0"/>
        <a:buChar char="-"/>
        <a:defRPr sz="2000" i="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895350" indent="-177800" algn="l" rtl="0" eaLnBrk="1" fontAlgn="base" hangingPunct="1">
        <a:spcBef>
          <a:spcPts val="0"/>
        </a:spcBef>
        <a:spcAft>
          <a:spcPts val="600"/>
        </a:spcAft>
        <a:buFont typeface="Arial" pitchFamily="34" charset="0"/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074738" indent="-177800" algn="l" rtl="0" eaLnBrk="1" fontAlgn="base" hangingPunct="1">
        <a:spcBef>
          <a:spcPts val="0"/>
        </a:spcBef>
        <a:spcAft>
          <a:spcPts val="600"/>
        </a:spcAft>
        <a:buFont typeface="Arial" charset="0"/>
        <a:buChar char="-"/>
        <a:defRPr sz="2000">
          <a:solidFill>
            <a:schemeClr val="tx1"/>
          </a:solidFill>
          <a:latin typeface="+mn-lt"/>
          <a:cs typeface="+mn-cs"/>
        </a:defRPr>
      </a:lvl6pPr>
      <a:lvl7pPr marL="1252538" indent="-177800" algn="l" rtl="0" eaLnBrk="1" fontAlgn="base" hangingPunct="1">
        <a:spcBef>
          <a:spcPts val="0"/>
        </a:spcBef>
        <a:spcAft>
          <a:spcPts val="600"/>
        </a:spcAft>
        <a:buFont typeface="Arial" charset="0"/>
        <a:buChar char="-"/>
        <a:defRPr sz="2000">
          <a:solidFill>
            <a:schemeClr val="tx1"/>
          </a:solidFill>
          <a:latin typeface="+mn-lt"/>
          <a:cs typeface="+mn-cs"/>
        </a:defRPr>
      </a:lvl7pPr>
      <a:lvl8pPr marL="1438275" indent="-185738" algn="l" rtl="0" eaLnBrk="1" fontAlgn="base" hangingPunct="1">
        <a:spcBef>
          <a:spcPts val="0"/>
        </a:spcBef>
        <a:spcAft>
          <a:spcPts val="600"/>
        </a:spcAft>
        <a:buFont typeface="Arial" charset="0"/>
        <a:buChar char="-"/>
        <a:defRPr sz="2000">
          <a:solidFill>
            <a:schemeClr val="tx1"/>
          </a:solidFill>
          <a:latin typeface="+mn-lt"/>
          <a:cs typeface="+mn-cs"/>
        </a:defRPr>
      </a:lvl8pPr>
      <a:lvl9pPr marL="1616075" indent="-177800" algn="l" rtl="0" eaLnBrk="1" fontAlgn="base" hangingPunct="1">
        <a:spcBef>
          <a:spcPts val="0"/>
        </a:spcBef>
        <a:spcAft>
          <a:spcPts val="600"/>
        </a:spcAft>
        <a:buFont typeface="Arial" charset="0"/>
        <a:buChar char="-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1216" y="260560"/>
            <a:ext cx="854518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431214" y="1220695"/>
            <a:ext cx="11329573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431800" y="-420693"/>
            <a:ext cx="11328987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431800" y="6981493"/>
            <a:ext cx="11328987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12336686" y="260648"/>
            <a:ext cx="288221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432907" y="260648"/>
            <a:ext cx="288221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10033000" y="6597440"/>
            <a:ext cx="1727787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FCBC2E87-33EB-478A-988F-F7C865AFDA8A}" type="slidenum">
              <a:rPr lang="en-US" sz="1067" smtClean="0">
                <a:solidFill>
                  <a:srgbClr val="8E858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67" dirty="0">
              <a:solidFill>
                <a:srgbClr val="8E858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767408" y="6558596"/>
            <a:ext cx="9408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1067" dirty="0">
                <a:solidFill>
                  <a:srgbClr val="8E858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© GfK </a:t>
            </a:r>
            <a:fld id="{C5F468E3-E2B5-4048-B5A0-A2E0E1BF2E6A}" type="datetime4">
              <a:rPr lang="en-US" sz="1067" smtClean="0">
                <a:solidFill>
                  <a:srgbClr val="8E858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pPr marL="0" lvl="8"/>
              <a:t>April 15, 2019</a:t>
            </a:fld>
            <a:r>
              <a:rPr lang="en-US" sz="1067" dirty="0">
                <a:solidFill>
                  <a:srgbClr val="8E858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| Infrabel Safety 2018</a:t>
            </a:r>
          </a:p>
        </p:txBody>
      </p:sp>
      <p:pic>
        <p:nvPicPr>
          <p:cNvPr id="80" name="Grafik 75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317580" y="6551440"/>
            <a:ext cx="206883" cy="206311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4"/>
            </p:custDataLst>
          </p:nvPr>
        </p:nvSpPr>
        <p:spPr bwMode="gray">
          <a:xfrm>
            <a:off x="1693334" y="169334"/>
            <a:ext cx="169333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7" name="Picture 17" descr="infrabel_logo_color_POS_RGB_90"/>
          <p:cNvPicPr>
            <a:picLocks noChangeAspect="1" noChangeArrowheads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9037" y="6574947"/>
            <a:ext cx="857278" cy="2286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8866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1pPr>
      <a:lvl2pPr marL="239994" marR="0" indent="-2399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2pPr>
      <a:lvl3pPr marL="479988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3pPr>
      <a:lvl4pPr marL="719982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4pPr>
      <a:lvl5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5pPr>
      <a:lvl6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6pPr>
      <a:lvl7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7pPr>
      <a:lvl8pPr marL="719982" indent="-2399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44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" name="think-cell Slide" r:id="rId47" imgW="353" imgH="353" progId="TCLayout.ActiveDocument.1">
                  <p:embed/>
                </p:oleObj>
              </mc:Choice>
              <mc:Fallback>
                <p:oleObj name="think-cell Slide" r:id="rId4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1216" y="260560"/>
            <a:ext cx="854518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45"/>
            </p:custDataLst>
          </p:nvPr>
        </p:nvSpPr>
        <p:spPr bwMode="gray">
          <a:xfrm>
            <a:off x="431214" y="1220695"/>
            <a:ext cx="11329573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431800" y="-420693"/>
            <a:ext cx="11328987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431800" y="6981493"/>
            <a:ext cx="11328987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12336686" y="260648"/>
            <a:ext cx="288221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432907" y="260648"/>
            <a:ext cx="288221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10033000" y="6597440"/>
            <a:ext cx="1727787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FCBC2E87-33EB-478A-988F-F7C865AFDA8A}" type="slidenum">
              <a:rPr lang="en-US" sz="1067" smtClean="0">
                <a:solidFill>
                  <a:srgbClr val="8E858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67" dirty="0">
              <a:solidFill>
                <a:srgbClr val="8E858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1067" dirty="0">
                <a:solidFill>
                  <a:srgbClr val="8E858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GfK </a:t>
            </a:r>
            <a:fld id="{C5F468E3-E2B5-4048-B5A0-A2E0E1BF2E6A}" type="datetime4">
              <a:rPr lang="en-US" sz="1067" smtClean="0">
                <a:solidFill>
                  <a:srgbClr val="8E858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lvl="8"/>
              <a:t>April 15, 2019</a:t>
            </a:fld>
            <a:r>
              <a:rPr lang="en-US" sz="1067" dirty="0">
                <a:solidFill>
                  <a:srgbClr val="8E858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Title of presentation</a:t>
            </a: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992254" y="260560"/>
            <a:ext cx="770129" cy="768000"/>
          </a:xfrm>
          <a:prstGeom prst="rect">
            <a:avLst/>
          </a:prstGeom>
        </p:spPr>
      </p:pic>
      <p:sp>
        <p:nvSpPr>
          <p:cNvPr id="62" name="Text Placeholder 6"/>
          <p:cNvSpPr txBox="1">
            <a:spLocks/>
          </p:cNvSpPr>
          <p:nvPr userDrawn="1"/>
        </p:nvSpPr>
        <p:spPr bwMode="gray">
          <a:xfrm>
            <a:off x="9120496" y="260648"/>
            <a:ext cx="1440000" cy="768000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lIns="0" rIns="0" anchor="ctr"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 fontAlgn="auto">
              <a:defRPr/>
            </a:pPr>
            <a:r>
              <a:rPr lang="en-US" sz="1333" dirty="0">
                <a:solidFill>
                  <a:srgbClr val="928580"/>
                </a:solidFill>
              </a:rPr>
              <a:t>Client logo</a:t>
            </a:r>
            <a:br>
              <a:rPr lang="en-US" sz="1333" dirty="0">
                <a:solidFill>
                  <a:srgbClr val="928580"/>
                </a:solidFill>
              </a:rPr>
            </a:br>
            <a:r>
              <a:rPr lang="en-US" sz="1067" dirty="0">
                <a:solidFill>
                  <a:srgbClr val="928580"/>
                </a:solidFill>
              </a:rPr>
              <a:t>[delete this grey box </a:t>
            </a:r>
            <a:br>
              <a:rPr lang="en-US" sz="1067" dirty="0">
                <a:solidFill>
                  <a:srgbClr val="928580"/>
                </a:solidFill>
              </a:rPr>
            </a:br>
            <a:r>
              <a:rPr lang="en-US" sz="1067" dirty="0">
                <a:solidFill>
                  <a:srgbClr val="928580"/>
                </a:solidFill>
              </a:rPr>
              <a:t>if not required]</a:t>
            </a:r>
          </a:p>
        </p:txBody>
      </p:sp>
      <p:sp>
        <p:nvSpPr>
          <p:cNvPr id="4" name="VCT_Marker_ID_4" hidden="1"/>
          <p:cNvSpPr/>
          <p:nvPr userDrawn="1">
            <p:custDataLst>
              <p:tags r:id="rId46"/>
            </p:custDataLst>
          </p:nvPr>
        </p:nvSpPr>
        <p:spPr bwMode="gray">
          <a:xfrm>
            <a:off x="1693334" y="169334"/>
            <a:ext cx="169333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2133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013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  <p:sldLayoutId id="2147483718" r:id="rId33"/>
    <p:sldLayoutId id="2147483719" r:id="rId34"/>
    <p:sldLayoutId id="2147483720" r:id="rId35"/>
    <p:sldLayoutId id="2147483721" r:id="rId36"/>
    <p:sldLayoutId id="2147483722" r:id="rId37"/>
    <p:sldLayoutId id="2147483723" r:id="rId38"/>
    <p:sldLayoutId id="2147483724" r:id="rId39"/>
    <p:sldLayoutId id="2147483725" r:id="rId40"/>
    <p:sldLayoutId id="2147483726" r:id="rId41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9994" marR="0" indent="-2399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9988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982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719982" indent="-2399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9667" y="1003300"/>
            <a:ext cx="10782300" cy="865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Click to edit Master title style</a:t>
            </a:r>
            <a:endParaRPr lang="en-GB" altLang="fr-FR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667" y="1900239"/>
            <a:ext cx="10788651" cy="416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Click to edit Master text styles</a:t>
            </a:r>
          </a:p>
          <a:p>
            <a:pPr lvl="1"/>
            <a:r>
              <a:rPr lang="en-US" altLang="fr-FR"/>
              <a:t>Second level</a:t>
            </a:r>
          </a:p>
          <a:p>
            <a:pPr lvl="2"/>
            <a:r>
              <a:rPr lang="en-US" altLang="fr-FR"/>
              <a:t>Third level</a:t>
            </a:r>
          </a:p>
          <a:p>
            <a:pPr lvl="3"/>
            <a:r>
              <a:rPr lang="en-US" altLang="fr-FR"/>
              <a:t>Fourth level</a:t>
            </a:r>
          </a:p>
          <a:p>
            <a:pPr lvl="4"/>
            <a:r>
              <a:rPr lang="en-US" altLang="fr-FR"/>
              <a:t>Fifth level</a:t>
            </a:r>
            <a:endParaRPr lang="en-GB" altLang="fr-F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71718" y="6321426"/>
            <a:ext cx="590549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D05D9653-1ED9-4ED1-8039-7B23D3AA2524}" type="slidenum">
              <a:rPr lang="en-GB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GB" altLang="en-US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E602C98-CB58-6E4F-8C8C-E675E3EBF55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56" y="6604749"/>
            <a:ext cx="927108" cy="153495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1108604" y="6715153"/>
            <a:ext cx="10205020" cy="45719"/>
          </a:xfrm>
          <a:prstGeom prst="rect">
            <a:avLst/>
          </a:prstGeom>
          <a:solidFill>
            <a:srgbClr val="00B0F0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51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+mj-lt"/>
          <a:ea typeface="Arial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ct val="20000"/>
        </a:spcBef>
        <a:spcAft>
          <a:spcPct val="5000"/>
        </a:spcAft>
        <a:buChar char="•"/>
        <a:defRPr sz="2000">
          <a:solidFill>
            <a:schemeClr val="tx1"/>
          </a:solidFill>
          <a:latin typeface="+mn-lt"/>
          <a:ea typeface="Arial" charset="0"/>
          <a:cs typeface="+mn-cs"/>
        </a:defRPr>
      </a:lvl1pPr>
      <a:lvl2pPr marL="357188" indent="-177800" algn="l" rtl="0" eaLnBrk="0" fontAlgn="base" hangingPunct="0">
        <a:spcBef>
          <a:spcPct val="20000"/>
        </a:spcBef>
        <a:spcAft>
          <a:spcPct val="5000"/>
        </a:spcAft>
        <a:buSzPct val="85000"/>
        <a:buFont typeface="Symbol" panose="05050102010706020507" pitchFamily="18" charset="2"/>
        <a:buChar char="°"/>
        <a:defRPr sz="2000">
          <a:solidFill>
            <a:schemeClr val="tx1"/>
          </a:solidFill>
          <a:latin typeface="+mn-lt"/>
          <a:ea typeface="Arial" charset="0"/>
          <a:cs typeface="+mn-cs"/>
        </a:defRPr>
      </a:lvl2pPr>
      <a:lvl3pPr marL="536575" indent="-177800" algn="l" rtl="0" eaLnBrk="0" fontAlgn="base" hangingPunct="0">
        <a:spcBef>
          <a:spcPct val="20000"/>
        </a:spcBef>
        <a:spcAft>
          <a:spcPct val="5000"/>
        </a:spcAft>
        <a:buFont typeface="Wingdings" panose="05000000000000000000" pitchFamily="2" charset="2"/>
        <a:buChar char="ú"/>
        <a:defRPr sz="2000">
          <a:solidFill>
            <a:schemeClr val="tx1"/>
          </a:solidFill>
          <a:latin typeface="+mn-lt"/>
          <a:ea typeface="Arial" charset="0"/>
          <a:cs typeface="+mn-cs"/>
        </a:defRPr>
      </a:lvl3pPr>
      <a:lvl4pPr marL="715963" indent="-177800" algn="l" rtl="0" eaLnBrk="0" fontAlgn="base" hangingPunct="0">
        <a:spcBef>
          <a:spcPct val="20000"/>
        </a:spcBef>
        <a:spcAft>
          <a:spcPct val="5000"/>
        </a:spcAft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895350" indent="-177800" algn="l" rtl="0" eaLnBrk="0" fontAlgn="base" hangingPunct="0">
        <a:spcBef>
          <a:spcPct val="20000"/>
        </a:spcBef>
        <a:spcAft>
          <a:spcPct val="5000"/>
        </a:spcAft>
        <a:buFont typeface="Arial" panose="020B0604020202020204" pitchFamily="34" charset="0"/>
        <a:buChar char="-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1352550" indent="-177800" algn="l" rtl="0" eaLnBrk="1" fontAlgn="base" hangingPunct="1">
        <a:spcBef>
          <a:spcPct val="20000"/>
        </a:spcBef>
        <a:spcAft>
          <a:spcPct val="500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809750" indent="-177800" algn="l" rtl="0" eaLnBrk="1" fontAlgn="base" hangingPunct="1">
        <a:spcBef>
          <a:spcPct val="20000"/>
        </a:spcBef>
        <a:spcAft>
          <a:spcPct val="500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66950" indent="-177800" algn="l" rtl="0" eaLnBrk="1" fontAlgn="base" hangingPunct="1">
        <a:spcBef>
          <a:spcPct val="20000"/>
        </a:spcBef>
        <a:spcAft>
          <a:spcPct val="500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724150" indent="-177800" algn="l" rtl="0" eaLnBrk="1" fontAlgn="base" hangingPunct="1">
        <a:spcBef>
          <a:spcPct val="20000"/>
        </a:spcBef>
        <a:spcAft>
          <a:spcPct val="5000"/>
        </a:spcAft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32.png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../media/image31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slideLayout" Target="../slideLayouts/slideLayout14.xml"/><Relationship Id="rId28" Type="http://schemas.openxmlformats.org/officeDocument/2006/relationships/image" Target="../media/image34.png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image" Target="../media/image35.png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image" Target="../media/image33.png"/><Relationship Id="rId30" Type="http://schemas.openxmlformats.org/officeDocument/2006/relationships/image" Target="../media/image30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chart" Target="../charts/chart4.xml"/><Relationship Id="rId5" Type="http://schemas.openxmlformats.org/officeDocument/2006/relationships/tags" Target="../tags/tag38.xml"/><Relationship Id="rId10" Type="http://schemas.openxmlformats.org/officeDocument/2006/relationships/image" Target="../media/image35.png"/><Relationship Id="rId4" Type="http://schemas.openxmlformats.org/officeDocument/2006/relationships/tags" Target="../tags/tag37.xml"/><Relationship Id="rId9" Type="http://schemas.openxmlformats.org/officeDocument/2006/relationships/image" Target="../media/image3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39.png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3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35.png"/><Relationship Id="rId5" Type="http://schemas.openxmlformats.org/officeDocument/2006/relationships/tags" Target="../tags/tag44.xml"/><Relationship Id="rId15" Type="http://schemas.openxmlformats.org/officeDocument/2006/relationships/chart" Target="../charts/chart5.xml"/><Relationship Id="rId10" Type="http://schemas.openxmlformats.org/officeDocument/2006/relationships/image" Target="../media/image37.jpeg"/><Relationship Id="rId4" Type="http://schemas.openxmlformats.org/officeDocument/2006/relationships/tags" Target="../tags/tag43.xml"/><Relationship Id="rId9" Type="http://schemas.openxmlformats.org/officeDocument/2006/relationships/notesSlide" Target="../notesSlides/notesSlide8.xml"/><Relationship Id="rId1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chart" Target="../charts/chart6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35.png"/><Relationship Id="rId5" Type="http://schemas.openxmlformats.org/officeDocument/2006/relationships/tags" Target="../tags/tag51.xml"/><Relationship Id="rId10" Type="http://schemas.openxmlformats.org/officeDocument/2006/relationships/image" Target="../media/image41.jpeg"/><Relationship Id="rId4" Type="http://schemas.openxmlformats.org/officeDocument/2006/relationships/tags" Target="../tags/tag50.xml"/><Relationship Id="rId9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chart" Target="../charts/chart7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image" Target="../media/image35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image" Target="../media/image42.jpeg"/><Relationship Id="rId5" Type="http://schemas.openxmlformats.org/officeDocument/2006/relationships/tags" Target="../tags/tag58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57.xml"/><Relationship Id="rId9" Type="http://schemas.openxmlformats.org/officeDocument/2006/relationships/slideLayout" Target="../slideLayouts/slideLayout14.xml"/><Relationship Id="rId1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microsoft.com/office/2007/relationships/hdphoto" Target="../media/hdphoto1.wdp"/><Relationship Id="rId3" Type="http://schemas.openxmlformats.org/officeDocument/2006/relationships/tags" Target="../tags/tag63.xml"/><Relationship Id="rId21" Type="http://schemas.openxmlformats.org/officeDocument/2006/relationships/tags" Target="../tags/tag81.xml"/><Relationship Id="rId34" Type="http://schemas.openxmlformats.org/officeDocument/2006/relationships/image" Target="../media/image30.emf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image" Target="../media/image43.png"/><Relationship Id="rId33" Type="http://schemas.openxmlformats.org/officeDocument/2006/relationships/oleObject" Target="../embeddings/oleObject9.bin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image" Target="../media/image45.png"/><Relationship Id="rId1" Type="http://schemas.openxmlformats.org/officeDocument/2006/relationships/vmlDrawing" Target="../drawings/vmlDrawing9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notesSlide" Target="../notesSlides/notesSlide12.xml"/><Relationship Id="rId32" Type="http://schemas.microsoft.com/office/2007/relationships/hdphoto" Target="../media/hdphoto4.wdp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slideLayout" Target="../slideLayouts/slideLayout14.xml"/><Relationship Id="rId28" Type="http://schemas.microsoft.com/office/2007/relationships/hdphoto" Target="../media/hdphoto2.wdp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31" Type="http://schemas.openxmlformats.org/officeDocument/2006/relationships/image" Target="../media/image46.png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image" Target="../media/image44.png"/><Relationship Id="rId30" Type="http://schemas.microsoft.com/office/2007/relationships/hdphoto" Target="../media/hdphoto3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39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8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chart" Target="../charts/chart9.xml"/><Relationship Id="rId5" Type="http://schemas.openxmlformats.org/officeDocument/2006/relationships/tags" Target="../tags/tag87.xml"/><Relationship Id="rId10" Type="http://schemas.openxmlformats.org/officeDocument/2006/relationships/image" Target="../media/image47.png"/><Relationship Id="rId4" Type="http://schemas.openxmlformats.org/officeDocument/2006/relationships/tags" Target="../tags/tag86.xml"/><Relationship Id="rId9" Type="http://schemas.openxmlformats.org/officeDocument/2006/relationships/notesSlide" Target="../notesSlides/notesSlide13.xml"/><Relationship Id="rId14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39.pn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38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chart" Target="../charts/chart10.xml"/><Relationship Id="rId5" Type="http://schemas.openxmlformats.org/officeDocument/2006/relationships/tags" Target="../tags/tag94.xml"/><Relationship Id="rId10" Type="http://schemas.openxmlformats.org/officeDocument/2006/relationships/image" Target="../media/image48.jpeg"/><Relationship Id="rId4" Type="http://schemas.openxmlformats.org/officeDocument/2006/relationships/tags" Target="../tags/tag93.xml"/><Relationship Id="rId9" Type="http://schemas.openxmlformats.org/officeDocument/2006/relationships/notesSlide" Target="../notesSlides/notesSlide14.xml"/><Relationship Id="rId1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38.pn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chart" Target="../charts/chart11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image" Target="../media/image49.jpeg"/><Relationship Id="rId5" Type="http://schemas.openxmlformats.org/officeDocument/2006/relationships/tags" Target="../tags/tag101.xml"/><Relationship Id="rId15" Type="http://schemas.openxmlformats.org/officeDocument/2006/relationships/image" Target="../media/image40.png"/><Relationship Id="rId10" Type="http://schemas.openxmlformats.org/officeDocument/2006/relationships/notesSlide" Target="../notesSlides/notesSlide15.xml"/><Relationship Id="rId4" Type="http://schemas.openxmlformats.org/officeDocument/2006/relationships/tags" Target="../tags/tag100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chart" Target="../charts/chart13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chart" Target="../charts/chart12.xml"/><Relationship Id="rId5" Type="http://schemas.openxmlformats.org/officeDocument/2006/relationships/tags" Target="../tags/tag109.xml"/><Relationship Id="rId10" Type="http://schemas.openxmlformats.org/officeDocument/2006/relationships/image" Target="../media/image50.jpeg"/><Relationship Id="rId4" Type="http://schemas.openxmlformats.org/officeDocument/2006/relationships/tags" Target="../tags/tag108.xml"/><Relationship Id="rId9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51.jpg"/><Relationship Id="rId4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3.jpe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chart" Target="../charts/chart1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chart" Target="../charts/chart15.xml"/><Relationship Id="rId7" Type="http://schemas.openxmlformats.org/officeDocument/2006/relationships/image" Target="../media/image6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73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2.jpeg"/><Relationship Id="rId5" Type="http://schemas.openxmlformats.org/officeDocument/2006/relationships/image" Target="../media/image71.png"/><Relationship Id="rId4" Type="http://schemas.openxmlformats.org/officeDocument/2006/relationships/image" Target="../media/image70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5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png"/><Relationship Id="rId5" Type="http://schemas.openxmlformats.org/officeDocument/2006/relationships/image" Target="../media/image78.jpeg"/><Relationship Id="rId4" Type="http://schemas.openxmlformats.org/officeDocument/2006/relationships/image" Target="../media/image77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2.pn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79.png"/><Relationship Id="rId9" Type="http://schemas.openxmlformats.org/officeDocument/2006/relationships/image" Target="../media/image87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89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Relationship Id="rId9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5761" y="297597"/>
            <a:ext cx="1512168" cy="526052"/>
          </a:xfrm>
          <a:prstGeom prst="rect">
            <a:avLst/>
          </a:prstGeom>
        </p:spPr>
      </p:pic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97848" y="1772816"/>
            <a:ext cx="6144568" cy="2216273"/>
          </a:xfrm>
        </p:spPr>
        <p:txBody>
          <a:bodyPr/>
          <a:lstStyle/>
          <a:p>
            <a:pPr eaLnBrk="1" hangingPunct="1"/>
            <a:r>
              <a:rPr lang="fr-BE" sz="4400" dirty="0" err="1">
                <a:latin typeface="Calibri" panose="020F0502020204030204" pitchFamily="34" charset="0"/>
                <a:sym typeface="Wingdings 2" pitchFamily="18" charset="2"/>
              </a:rPr>
              <a:t>Nationaal</a:t>
            </a:r>
            <a:r>
              <a:rPr lang="fr-BE" sz="4400" dirty="0">
                <a:latin typeface="Calibri" panose="020F0502020204030204" pitchFamily="34" charset="0"/>
                <a:sym typeface="Wingdings 2" pitchFamily="18" charset="2"/>
              </a:rPr>
              <a:t> </a:t>
            </a:r>
            <a:br>
              <a:rPr lang="fr-BE" sz="4400" dirty="0">
                <a:latin typeface="Calibri" panose="020F0502020204030204" pitchFamily="34" charset="0"/>
                <a:sym typeface="Wingdings 2" pitchFamily="18" charset="2"/>
              </a:rPr>
            </a:br>
            <a:r>
              <a:rPr lang="fr-BE" sz="4400" dirty="0" err="1">
                <a:latin typeface="Calibri" panose="020F0502020204030204" pitchFamily="34" charset="0"/>
                <a:sym typeface="Wingdings 2" pitchFamily="18" charset="2"/>
              </a:rPr>
              <a:t>Actieplan</a:t>
            </a:r>
            <a:r>
              <a:rPr lang="fr-BE" sz="4400" dirty="0">
                <a:latin typeface="Calibri" panose="020F0502020204030204" pitchFamily="34" charset="0"/>
                <a:sym typeface="Wingdings 2" pitchFamily="18" charset="2"/>
              </a:rPr>
              <a:t> </a:t>
            </a:r>
            <a:r>
              <a:rPr lang="fr-BE" sz="4400" dirty="0" err="1">
                <a:latin typeface="Calibri" panose="020F0502020204030204" pitchFamily="34" charset="0"/>
                <a:sym typeface="Wingdings 2" pitchFamily="18" charset="2"/>
              </a:rPr>
              <a:t>Railspect</a:t>
            </a:r>
            <a:r>
              <a:rPr lang="fr-BE" sz="3600" dirty="0">
                <a:latin typeface="Calibri" panose="020F0502020204030204" pitchFamily="34" charset="0"/>
                <a:sym typeface="Wingdings 2" pitchFamily="18" charset="2"/>
              </a:rPr>
              <a:t/>
            </a:r>
            <a:br>
              <a:rPr lang="fr-BE" sz="3600" dirty="0">
                <a:latin typeface="Calibri" panose="020F0502020204030204" pitchFamily="34" charset="0"/>
                <a:sym typeface="Wingdings 2" pitchFamily="18" charset="2"/>
              </a:rPr>
            </a:br>
            <a:r>
              <a:rPr lang="fr-BE" sz="2800" b="0" dirty="0" err="1">
                <a:latin typeface="Calibri" panose="020F0502020204030204" pitchFamily="34" charset="0"/>
                <a:sym typeface="Wingdings 2" pitchFamily="18" charset="2"/>
              </a:rPr>
              <a:t>Samen</a:t>
            </a:r>
            <a:r>
              <a:rPr lang="fr-BE" sz="2800" b="0" dirty="0">
                <a:latin typeface="Calibri" panose="020F0502020204030204" pitchFamily="34" charset="0"/>
                <a:sym typeface="Wingdings 2" pitchFamily="18" charset="2"/>
              </a:rPr>
              <a:t> </a:t>
            </a:r>
            <a:r>
              <a:rPr lang="fr-BE" sz="2800" b="0" dirty="0" err="1">
                <a:latin typeface="Calibri" panose="020F0502020204030204" pitchFamily="34" charset="0"/>
                <a:sym typeface="Wingdings 2" pitchFamily="18" charset="2"/>
              </a:rPr>
              <a:t>sterk</a:t>
            </a:r>
            <a:r>
              <a:rPr lang="fr-BE" sz="2800" b="0" dirty="0">
                <a:latin typeface="Calibri" panose="020F0502020204030204" pitchFamily="34" charset="0"/>
                <a:sym typeface="Wingdings 2" pitchFamily="18" charset="2"/>
              </a:rPr>
              <a:t> </a:t>
            </a:r>
            <a:r>
              <a:rPr lang="fr-BE" sz="2800" b="0" dirty="0" err="1">
                <a:latin typeface="Calibri" panose="020F0502020204030204" pitchFamily="34" charset="0"/>
                <a:sym typeface="Wingdings 2" pitchFamily="18" charset="2"/>
              </a:rPr>
              <a:t>tegen</a:t>
            </a:r>
            <a:r>
              <a:rPr lang="fr-BE" sz="2800" b="0" dirty="0">
                <a:latin typeface="Calibri" panose="020F0502020204030204" pitchFamily="34" charset="0"/>
                <a:sym typeface="Wingdings 2" pitchFamily="18" charset="2"/>
              </a:rPr>
              <a:t> </a:t>
            </a:r>
            <a:r>
              <a:rPr lang="fr-BE" sz="2800" b="0" dirty="0" err="1">
                <a:latin typeface="Calibri" panose="020F0502020204030204" pitchFamily="34" charset="0"/>
                <a:sym typeface="Wingdings 2" pitchFamily="18" charset="2"/>
              </a:rPr>
              <a:t>risicovol</a:t>
            </a:r>
            <a:r>
              <a:rPr lang="fr-BE" sz="2800" b="0" dirty="0">
                <a:latin typeface="Calibri" panose="020F0502020204030204" pitchFamily="34" charset="0"/>
                <a:sym typeface="Wingdings 2" pitchFamily="18" charset="2"/>
              </a:rPr>
              <a:t> </a:t>
            </a:r>
            <a:br>
              <a:rPr lang="fr-BE" sz="2800" b="0" dirty="0">
                <a:latin typeface="Calibri" panose="020F0502020204030204" pitchFamily="34" charset="0"/>
                <a:sym typeface="Wingdings 2" pitchFamily="18" charset="2"/>
              </a:rPr>
            </a:br>
            <a:r>
              <a:rPr lang="fr-BE" sz="2800" b="0" dirty="0" err="1">
                <a:latin typeface="Calibri" panose="020F0502020204030204" pitchFamily="34" charset="0"/>
                <a:sym typeface="Wingdings 2" pitchFamily="18" charset="2"/>
              </a:rPr>
              <a:t>gedrag</a:t>
            </a:r>
            <a:r>
              <a:rPr lang="fr-BE" sz="2800" b="0" dirty="0">
                <a:latin typeface="Calibri" panose="020F0502020204030204" pitchFamily="34" charset="0"/>
                <a:sym typeface="Wingdings 2" pitchFamily="18" charset="2"/>
              </a:rPr>
              <a:t> op het </a:t>
            </a:r>
            <a:r>
              <a:rPr lang="fr-BE" sz="2800" b="0" dirty="0" err="1">
                <a:latin typeface="Calibri" panose="020F0502020204030204" pitchFamily="34" charset="0"/>
                <a:sym typeface="Wingdings 2" pitchFamily="18" charset="2"/>
              </a:rPr>
              <a:t>spoorwegdomein</a:t>
            </a:r>
            <a:r>
              <a:rPr lang="fr-BE" sz="3600" dirty="0">
                <a:latin typeface="Calibri" panose="020F0502020204030204" pitchFamily="34" charset="0"/>
                <a:sym typeface="Wingdings 2" pitchFamily="18" charset="2"/>
              </a:rPr>
              <a:t/>
            </a:r>
            <a:br>
              <a:rPr lang="fr-BE" sz="3600" dirty="0">
                <a:latin typeface="Calibri" panose="020F0502020204030204" pitchFamily="34" charset="0"/>
                <a:sym typeface="Wingdings 2" pitchFamily="18" charset="2"/>
              </a:rPr>
            </a:br>
            <a:endParaRPr lang="fr-BE" sz="3600" dirty="0">
              <a:latin typeface="Calibri" panose="020F0502020204030204" pitchFamily="34" charset="0"/>
              <a:sym typeface="Wingdings 2" pitchFamily="18" charset="2"/>
            </a:endParaRPr>
          </a:p>
        </p:txBody>
      </p:sp>
      <p:sp>
        <p:nvSpPr>
          <p:cNvPr id="71683" name="TextBox 4"/>
          <p:cNvSpPr txBox="1">
            <a:spLocks noChangeArrowheads="1"/>
          </p:cNvSpPr>
          <p:nvPr/>
        </p:nvSpPr>
        <p:spPr bwMode="auto">
          <a:xfrm>
            <a:off x="2027239" y="5996191"/>
            <a:ext cx="3577695" cy="624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Aft>
                <a:spcPts val="60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Aft>
                <a:spcPts val="600"/>
              </a:spcAft>
              <a:buSzPct val="100000"/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Aft>
                <a:spcPts val="600"/>
              </a:spcAft>
              <a:buFont typeface="Wingdings" pitchFamily="2" charset="2"/>
              <a:buChar char="à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Aft>
                <a:spcPts val="60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altLang="en-US" sz="1600" dirty="0">
              <a:solidFill>
                <a:srgbClr val="000000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497848" y="6123497"/>
            <a:ext cx="4267200" cy="369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+mj-lt"/>
                <a:ea typeface="Arial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BE" sz="2000" b="0">
                <a:solidFill>
                  <a:schemeClr val="tx2"/>
                </a:solidFill>
                <a:latin typeface="Calibri" panose="020F0502020204030204" pitchFamily="34" charset="0"/>
                <a:sym typeface="Wingdings 2" pitchFamily="18" charset="2"/>
              </a:rPr>
              <a:t>25.03.2019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54B294-BBF1-2545-9CB5-0AB67AAB61B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804" y="4365625"/>
            <a:ext cx="3514680" cy="905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362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/>
          <p:cNvPicPr>
            <a:picLocks noChangeAspect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764" t="18286" r="10524" b="14637"/>
          <a:stretch/>
        </p:blipFill>
        <p:spPr>
          <a:xfrm>
            <a:off x="7298420" y="4565923"/>
            <a:ext cx="1980000" cy="1980000"/>
          </a:xfrm>
          <a:prstGeom prst="ellipse">
            <a:avLst/>
          </a:prstGeom>
        </p:spPr>
      </p:pic>
      <p:sp>
        <p:nvSpPr>
          <p:cNvPr id="58" name="Oval 57"/>
          <p:cNvSpPr/>
          <p:nvPr/>
        </p:nvSpPr>
        <p:spPr bwMode="gray">
          <a:xfrm>
            <a:off x="7298420" y="4564128"/>
            <a:ext cx="2042330" cy="2051636"/>
          </a:xfrm>
          <a:prstGeom prst="ellipse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42" r="3956"/>
          <a:stretch/>
        </p:blipFill>
        <p:spPr>
          <a:xfrm>
            <a:off x="4977002" y="678986"/>
            <a:ext cx="1980000" cy="1980000"/>
          </a:xfrm>
          <a:prstGeom prst="ellipse">
            <a:avLst/>
          </a:prstGeom>
        </p:spPr>
      </p:pic>
      <p:sp>
        <p:nvSpPr>
          <p:cNvPr id="52" name="Oval 51"/>
          <p:cNvSpPr/>
          <p:nvPr/>
        </p:nvSpPr>
        <p:spPr bwMode="gray">
          <a:xfrm>
            <a:off x="4990846" y="693184"/>
            <a:ext cx="1980000" cy="1980000"/>
          </a:xfrm>
          <a:prstGeom prst="ellipse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48" r="20785"/>
          <a:stretch/>
        </p:blipFill>
        <p:spPr>
          <a:xfrm>
            <a:off x="8055940" y="2036284"/>
            <a:ext cx="1980000" cy="1980000"/>
          </a:xfrm>
          <a:prstGeom prst="ellipse">
            <a:avLst/>
          </a:prstGeom>
        </p:spPr>
      </p:pic>
      <p:sp>
        <p:nvSpPr>
          <p:cNvPr id="4" name="Oval 3"/>
          <p:cNvSpPr/>
          <p:nvPr/>
        </p:nvSpPr>
        <p:spPr bwMode="gray">
          <a:xfrm>
            <a:off x="8049434" y="2030439"/>
            <a:ext cx="1980000" cy="1980000"/>
          </a:xfrm>
          <a:prstGeom prst="ellipse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566" r="767"/>
          <a:stretch/>
        </p:blipFill>
        <p:spPr>
          <a:xfrm>
            <a:off x="1649528" y="728538"/>
            <a:ext cx="1980000" cy="1980000"/>
          </a:xfrm>
          <a:prstGeom prst="ellipse">
            <a:avLst/>
          </a:prstGeom>
        </p:spPr>
      </p:pic>
      <p:sp>
        <p:nvSpPr>
          <p:cNvPr id="54" name="Oval 53"/>
          <p:cNvSpPr/>
          <p:nvPr/>
        </p:nvSpPr>
        <p:spPr bwMode="gray">
          <a:xfrm>
            <a:off x="1649528" y="720481"/>
            <a:ext cx="1980000" cy="1980000"/>
          </a:xfrm>
          <a:prstGeom prst="ellipse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34" name="Gruppieren 33"/>
          <p:cNvGrpSpPr/>
          <p:nvPr>
            <p:custDataLst>
              <p:tags r:id="rId2"/>
            </p:custDataLst>
          </p:nvPr>
        </p:nvGrpSpPr>
        <p:grpSpPr bwMode="gray">
          <a:xfrm>
            <a:off x="1092025" y="107321"/>
            <a:ext cx="3095005" cy="3095005"/>
            <a:chOff x="65602" y="330501"/>
            <a:chExt cx="2321254" cy="2321254"/>
          </a:xfrm>
          <a:noFill/>
        </p:grpSpPr>
        <p:sp>
          <p:nvSpPr>
            <p:cNvPr id="14" name="Ellipse 13"/>
            <p:cNvSpPr/>
            <p:nvPr>
              <p:custDataLst>
                <p:tags r:id="rId21"/>
              </p:custDataLst>
            </p:nvPr>
          </p:nvSpPr>
          <p:spPr bwMode="gray">
            <a:xfrm>
              <a:off x="483729" y="790371"/>
              <a:ext cx="1485000" cy="1485000"/>
            </a:xfrm>
            <a:prstGeom prst="ellipse">
              <a:avLst/>
            </a:prstGeom>
            <a:grpFill/>
            <a:ln w="9525">
              <a:solidFill>
                <a:srgbClr val="F0A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133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31" name="Ellipse 30"/>
            <p:cNvSpPr/>
            <p:nvPr>
              <p:custDataLst>
                <p:tags r:id="rId22"/>
              </p:custDataLst>
            </p:nvPr>
          </p:nvSpPr>
          <p:spPr bwMode="gray">
            <a:xfrm>
              <a:off x="65602" y="330501"/>
              <a:ext cx="2321254" cy="2321254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21920" tIns="60960" rIns="121920" bIns="60960" numCol="1" spcCol="0" rtlCol="0" fromWordArt="0" anchor="ctr" anchorCtr="0" forceAA="0" compatLnSpc="1">
              <a:prstTxWarp prst="textArchUp">
                <a:avLst>
                  <a:gd name="adj" fmla="val 10762146"/>
                </a:avLst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nl-BE" sz="1867" b="1" dirty="0" err="1" smtClean="0">
                  <a:solidFill>
                    <a:srgbClr val="F0AB00"/>
                  </a:solidFill>
                  <a:latin typeface="Calibri" panose="020F0502020204030204" pitchFamily="34" charset="0"/>
                  <a:cs typeface="Arial" pitchFamily="34" charset="0"/>
                </a:rPr>
                <a:t>Unconscious</a:t>
              </a:r>
              <a:r>
                <a:rPr lang="nl-BE" sz="1867" b="1" dirty="0" smtClean="0">
                  <a:solidFill>
                    <a:srgbClr val="F0AB00"/>
                  </a:solidFill>
                  <a:latin typeface="Calibri" panose="020F0502020204030204" pitchFamily="34" charset="0"/>
                  <a:cs typeface="Arial" pitchFamily="34" charset="0"/>
                </a:rPr>
                <a:t> trespassers</a:t>
              </a:r>
              <a:endParaRPr lang="nl-BE" sz="1867" b="1" dirty="0">
                <a:solidFill>
                  <a:srgbClr val="F0AB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ihandform 10"/>
          <p:cNvSpPr/>
          <p:nvPr>
            <p:custDataLst>
              <p:tags r:id="rId4"/>
            </p:custDataLst>
          </p:nvPr>
        </p:nvSpPr>
        <p:spPr bwMode="gray">
          <a:xfrm flipH="1">
            <a:off x="-288710" y="4341101"/>
            <a:ext cx="2112235" cy="192000"/>
          </a:xfrm>
          <a:custGeom>
            <a:avLst/>
            <a:gdLst>
              <a:gd name="connsiteX0" fmla="*/ 0 w 849086"/>
              <a:gd name="connsiteY0" fmla="*/ 117566 h 117566"/>
              <a:gd name="connsiteX1" fmla="*/ 731520 w 849086"/>
              <a:gd name="connsiteY1" fmla="*/ 117566 h 117566"/>
              <a:gd name="connsiteX2" fmla="*/ 849086 w 849086"/>
              <a:gd name="connsiteY2" fmla="*/ 0 h 11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49086" h="117566">
                <a:moveTo>
                  <a:pt x="0" y="117566"/>
                </a:moveTo>
                <a:lnTo>
                  <a:pt x="731520" y="117566"/>
                </a:lnTo>
                <a:lnTo>
                  <a:pt x="849086" y="0"/>
                </a:lnTo>
              </a:path>
            </a:pathLst>
          </a:custGeom>
          <a:noFill/>
          <a:ln w="28575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Ellipse 11"/>
          <p:cNvSpPr/>
          <p:nvPr>
            <p:custDataLst>
              <p:tags r:id="rId5"/>
            </p:custDataLst>
          </p:nvPr>
        </p:nvSpPr>
        <p:spPr bwMode="gray">
          <a:xfrm flipH="1">
            <a:off x="1890567" y="3093178"/>
            <a:ext cx="2832100" cy="28321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3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auto">
              <a:spcBef>
                <a:spcPts val="400"/>
              </a:spcBef>
              <a:spcAft>
                <a:spcPts val="0"/>
              </a:spcAft>
            </a:pPr>
            <a:r>
              <a:rPr lang="nl-BE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4 segmenten kunnen</a:t>
            </a:r>
          </a:p>
          <a:p>
            <a:pPr defTabSz="1219170" fontAlgn="auto">
              <a:spcBef>
                <a:spcPts val="400"/>
              </a:spcBef>
              <a:spcAft>
                <a:spcPts val="0"/>
              </a:spcAft>
            </a:pPr>
            <a:r>
              <a:rPr lang="nl-BE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gedefinieerd worden aan </a:t>
            </a:r>
          </a:p>
          <a:p>
            <a:pPr defTabSz="1219170" fontAlgn="auto">
              <a:spcBef>
                <a:spcPts val="400"/>
              </a:spcBef>
              <a:spcAft>
                <a:spcPts val="0"/>
              </a:spcAft>
            </a:pPr>
            <a:r>
              <a:rPr lang="nl-BE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 de hand van hun gedrag </a:t>
            </a:r>
          </a:p>
          <a:p>
            <a:pPr defTabSz="1219170" fontAlgn="auto">
              <a:spcBef>
                <a:spcPts val="400"/>
              </a:spcBef>
              <a:spcAft>
                <a:spcPts val="0"/>
              </a:spcAft>
            </a:pPr>
            <a:r>
              <a:rPr lang="nl-BE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en attitude t.o.v. </a:t>
            </a:r>
          </a:p>
          <a:p>
            <a:pPr defTabSz="1219170" fontAlgn="auto">
              <a:spcBef>
                <a:spcPts val="400"/>
              </a:spcBef>
              <a:spcAft>
                <a:spcPts val="0"/>
              </a:spcAft>
            </a:pPr>
            <a:r>
              <a:rPr lang="nl-BE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spoorlopen </a:t>
            </a:r>
          </a:p>
          <a:p>
            <a:pPr defTabSz="1219170" fontAlgn="auto">
              <a:spcBef>
                <a:spcPts val="40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defTabSz="1219170" fontAlgn="auto">
              <a:spcBef>
                <a:spcPts val="40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35" name="Gruppieren 34"/>
          <p:cNvGrpSpPr/>
          <p:nvPr>
            <p:custDataLst>
              <p:tags r:id="rId6"/>
            </p:custDataLst>
          </p:nvPr>
        </p:nvGrpSpPr>
        <p:grpSpPr bwMode="gray">
          <a:xfrm>
            <a:off x="6446769" y="3799407"/>
            <a:ext cx="3683301" cy="4223303"/>
            <a:chOff x="2296065" y="465124"/>
            <a:chExt cx="1465571" cy="1680436"/>
          </a:xfrm>
          <a:noFill/>
        </p:grpSpPr>
        <p:sp>
          <p:nvSpPr>
            <p:cNvPr id="24" name="Ellipse 23"/>
            <p:cNvSpPr/>
            <p:nvPr>
              <p:custDataLst>
                <p:tags r:id="rId19"/>
              </p:custDataLst>
            </p:nvPr>
          </p:nvSpPr>
          <p:spPr bwMode="gray">
            <a:xfrm>
              <a:off x="2634934" y="770118"/>
              <a:ext cx="787834" cy="787834"/>
            </a:xfrm>
            <a:prstGeom prst="ellipse">
              <a:avLst/>
            </a:prstGeom>
            <a:grp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133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29" name="Ellipse 28"/>
            <p:cNvSpPr/>
            <p:nvPr>
              <p:custDataLst>
                <p:tags r:id="rId20"/>
              </p:custDataLst>
            </p:nvPr>
          </p:nvSpPr>
          <p:spPr bwMode="gray">
            <a:xfrm>
              <a:off x="2296065" y="465124"/>
              <a:ext cx="1465571" cy="1680436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21920" tIns="60960" rIns="121920" bIns="60960" numCol="1" spcCol="0" rtlCol="0" fromWordArt="0" anchor="ctr" anchorCtr="0" forceAA="0" compatLnSpc="1">
              <a:prstTxWarp prst="textArchUp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nl-BE" sz="1867" b="1" dirty="0" err="1" smtClean="0">
                  <a:solidFill>
                    <a:srgbClr val="C00000"/>
                  </a:solidFill>
                  <a:latin typeface="Calibri" panose="020F0502020204030204" pitchFamily="34" charset="0"/>
                  <a:cs typeface="Arial" pitchFamily="34" charset="0"/>
                </a:rPr>
                <a:t>Rebelling</a:t>
              </a:r>
              <a:r>
                <a:rPr lang="nl-BE" sz="1867" b="1" dirty="0" smtClean="0">
                  <a:solidFill>
                    <a:srgbClr val="C00000"/>
                  </a:solidFill>
                  <a:latin typeface="Calibri" panose="020F0502020204030204" pitchFamily="34" charset="0"/>
                  <a:cs typeface="Arial" pitchFamily="34" charset="0"/>
                </a:rPr>
                <a:t> risk </a:t>
              </a:r>
              <a:r>
                <a:rPr lang="nl-BE" sz="1867" b="1" dirty="0" err="1" smtClean="0">
                  <a:solidFill>
                    <a:srgbClr val="C00000"/>
                  </a:solidFill>
                  <a:latin typeface="Calibri" panose="020F0502020204030204" pitchFamily="34" charset="0"/>
                  <a:cs typeface="Arial" pitchFamily="34" charset="0"/>
                </a:rPr>
                <a:t>takers</a:t>
              </a:r>
              <a:endParaRPr lang="nl-BE" sz="1867" b="1" dirty="0">
                <a:solidFill>
                  <a:srgbClr val="C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 bwMode="gray">
          <a:xfrm>
            <a:off x="4338010" y="42092"/>
            <a:ext cx="3360000" cy="3312000"/>
            <a:chOff x="3982780" y="3040833"/>
            <a:chExt cx="2520000" cy="2484000"/>
          </a:xfrm>
          <a:noFill/>
        </p:grpSpPr>
        <p:sp>
          <p:nvSpPr>
            <p:cNvPr id="27" name="Ellipse 26"/>
            <p:cNvSpPr/>
            <p:nvPr>
              <p:custDataLst>
                <p:tags r:id="rId17"/>
              </p:custDataLst>
            </p:nvPr>
          </p:nvSpPr>
          <p:spPr bwMode="gray">
            <a:xfrm>
              <a:off x="4472407" y="3507854"/>
              <a:ext cx="1485000" cy="1485000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133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30" name="Ellipse 29"/>
            <p:cNvSpPr/>
            <p:nvPr>
              <p:custDataLst>
                <p:tags r:id="rId18"/>
              </p:custDataLst>
            </p:nvPr>
          </p:nvSpPr>
          <p:spPr bwMode="gray">
            <a:xfrm>
              <a:off x="3982780" y="3040833"/>
              <a:ext cx="2520000" cy="2484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21920" tIns="60960" rIns="121920" bIns="60960" numCol="1" spcCol="0" rtlCol="0" fromWordArt="0" anchor="ctr" anchorCtr="0" forceAA="0" compatLnSpc="1">
              <a:prstTxWarp prst="textArchUp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nl-BE" sz="1867" b="1" dirty="0" err="1" smtClean="0">
                  <a:solidFill>
                    <a:srgbClr val="264283"/>
                  </a:solidFill>
                  <a:latin typeface="Calibri" panose="020F0502020204030204" pitchFamily="34" charset="0"/>
                  <a:cs typeface="Arial" pitchFamily="34" charset="0"/>
                </a:rPr>
                <a:t>Social</a:t>
              </a:r>
              <a:r>
                <a:rPr lang="nl-BE" sz="1867" b="1" dirty="0" smtClean="0">
                  <a:solidFill>
                    <a:srgbClr val="264283"/>
                  </a:solidFill>
                  <a:latin typeface="Calibri" panose="020F0502020204030204" pitchFamily="34" charset="0"/>
                  <a:cs typeface="Arial" pitchFamily="34" charset="0"/>
                </a:rPr>
                <a:t> trespassers</a:t>
              </a:r>
              <a:endParaRPr lang="nl-BE" sz="1867" b="1" dirty="0">
                <a:solidFill>
                  <a:srgbClr val="264283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</p:grpSp>
      <p:sp>
        <p:nvSpPr>
          <p:cNvPr id="16" name="Freihandform 15"/>
          <p:cNvSpPr/>
          <p:nvPr>
            <p:custDataLst>
              <p:tags r:id="rId7"/>
            </p:custDataLst>
          </p:nvPr>
        </p:nvSpPr>
        <p:spPr bwMode="gray">
          <a:xfrm>
            <a:off x="3026728" y="2695532"/>
            <a:ext cx="92710" cy="424870"/>
          </a:xfrm>
          <a:custGeom>
            <a:avLst/>
            <a:gdLst>
              <a:gd name="connsiteX0" fmla="*/ 110836 w 110836"/>
              <a:gd name="connsiteY0" fmla="*/ 207818 h 207818"/>
              <a:gd name="connsiteX1" fmla="*/ 110836 w 110836"/>
              <a:gd name="connsiteY1" fmla="*/ 110836 h 207818"/>
              <a:gd name="connsiteX2" fmla="*/ 0 w 110836"/>
              <a:gd name="connsiteY2" fmla="*/ 0 h 207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0836" h="207818">
                <a:moveTo>
                  <a:pt x="110836" y="207818"/>
                </a:moveTo>
                <a:lnTo>
                  <a:pt x="110836" y="110836"/>
                </a:lnTo>
                <a:lnTo>
                  <a:pt x="0" y="0"/>
                </a:lnTo>
              </a:path>
            </a:pathLst>
          </a:custGeom>
          <a:noFill/>
          <a:ln w="12700" cap="rnd">
            <a:solidFill>
              <a:srgbClr val="F0A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Freihandform 19"/>
          <p:cNvSpPr/>
          <p:nvPr>
            <p:custDataLst>
              <p:tags r:id="rId8"/>
            </p:custDataLst>
          </p:nvPr>
        </p:nvSpPr>
        <p:spPr bwMode="gray">
          <a:xfrm>
            <a:off x="4514751" y="5284715"/>
            <a:ext cx="2721340" cy="349147"/>
          </a:xfrm>
          <a:custGeom>
            <a:avLst/>
            <a:gdLst>
              <a:gd name="connsiteX0" fmla="*/ 0 w 1918854"/>
              <a:gd name="connsiteY0" fmla="*/ 0 h 103909"/>
              <a:gd name="connsiteX1" fmla="*/ 103909 w 1918854"/>
              <a:gd name="connsiteY1" fmla="*/ 103909 h 103909"/>
              <a:gd name="connsiteX2" fmla="*/ 1918854 w 1918854"/>
              <a:gd name="connsiteY2" fmla="*/ 103909 h 103909"/>
              <a:gd name="connsiteX0" fmla="*/ 0 w 1918854"/>
              <a:gd name="connsiteY0" fmla="*/ 0 h 103917"/>
              <a:gd name="connsiteX1" fmla="*/ 103909 w 1918854"/>
              <a:gd name="connsiteY1" fmla="*/ 103909 h 103917"/>
              <a:gd name="connsiteX2" fmla="*/ 789337 w 1918854"/>
              <a:gd name="connsiteY2" fmla="*/ 103917 h 103917"/>
              <a:gd name="connsiteX3" fmla="*/ 1918854 w 1918854"/>
              <a:gd name="connsiteY3" fmla="*/ 103909 h 103917"/>
              <a:gd name="connsiteX0" fmla="*/ 0 w 789337"/>
              <a:gd name="connsiteY0" fmla="*/ 0 h 103917"/>
              <a:gd name="connsiteX1" fmla="*/ 103909 w 789337"/>
              <a:gd name="connsiteY1" fmla="*/ 103909 h 103917"/>
              <a:gd name="connsiteX2" fmla="*/ 789337 w 789337"/>
              <a:gd name="connsiteY2" fmla="*/ 103917 h 103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9337" h="103917">
                <a:moveTo>
                  <a:pt x="0" y="0"/>
                </a:moveTo>
                <a:lnTo>
                  <a:pt x="103909" y="103909"/>
                </a:lnTo>
                <a:lnTo>
                  <a:pt x="789337" y="103917"/>
                </a:lnTo>
              </a:path>
            </a:pathLst>
          </a:custGeom>
          <a:noFill/>
          <a:ln w="12700" cap="rnd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Freihandform 22"/>
          <p:cNvSpPr/>
          <p:nvPr>
            <p:custDataLst>
              <p:tags r:id="rId9"/>
            </p:custDataLst>
          </p:nvPr>
        </p:nvSpPr>
        <p:spPr bwMode="gray">
          <a:xfrm>
            <a:off x="4740562" y="3120402"/>
            <a:ext cx="3247878" cy="1132909"/>
          </a:xfrm>
          <a:custGeom>
            <a:avLst/>
            <a:gdLst>
              <a:gd name="connsiteX0" fmla="*/ 0 w 1676400"/>
              <a:gd name="connsiteY0" fmla="*/ 628650 h 628650"/>
              <a:gd name="connsiteX1" fmla="*/ 1119188 w 1676400"/>
              <a:gd name="connsiteY1" fmla="*/ 0 h 628650"/>
              <a:gd name="connsiteX2" fmla="*/ 1676400 w 167640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76400" h="628650">
                <a:moveTo>
                  <a:pt x="0" y="628650"/>
                </a:moveTo>
                <a:lnTo>
                  <a:pt x="1119188" y="0"/>
                </a:lnTo>
                <a:lnTo>
                  <a:pt x="1676400" y="0"/>
                </a:lnTo>
              </a:path>
            </a:pathLst>
          </a:custGeom>
          <a:noFill/>
          <a:ln w="12700" cap="rnd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40" name="Gruppieren 39"/>
          <p:cNvGrpSpPr/>
          <p:nvPr>
            <p:custDataLst>
              <p:tags r:id="rId10"/>
            </p:custDataLst>
          </p:nvPr>
        </p:nvGrpSpPr>
        <p:grpSpPr bwMode="gray">
          <a:xfrm>
            <a:off x="1455684" y="5129117"/>
            <a:ext cx="1368000" cy="1368000"/>
            <a:chOff x="739449" y="3530749"/>
            <a:chExt cx="1356952" cy="1356952"/>
          </a:xfrm>
        </p:grpSpPr>
        <p:sp>
          <p:nvSpPr>
            <p:cNvPr id="48" name="Ellipse 47"/>
            <p:cNvSpPr/>
            <p:nvPr>
              <p:custDataLst>
                <p:tags r:id="rId15"/>
              </p:custDataLst>
            </p:nvPr>
          </p:nvSpPr>
          <p:spPr bwMode="gray">
            <a:xfrm flipH="1">
              <a:off x="739449" y="3530749"/>
              <a:ext cx="1356952" cy="135695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336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933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49" name="Ellipse 48"/>
            <p:cNvSpPr/>
            <p:nvPr>
              <p:custDataLst>
                <p:tags r:id="rId16"/>
              </p:custDataLst>
            </p:nvPr>
          </p:nvSpPr>
          <p:spPr bwMode="gray">
            <a:xfrm flipH="1">
              <a:off x="823959" y="3615259"/>
              <a:ext cx="1187934" cy="1187934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336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933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</p:grpSp>
      <p:sp>
        <p:nvSpPr>
          <p:cNvPr id="33" name="Ellipse 28"/>
          <p:cNvSpPr/>
          <p:nvPr>
            <p:custDataLst>
              <p:tags r:id="rId11"/>
            </p:custDataLst>
          </p:nvPr>
        </p:nvSpPr>
        <p:spPr bwMode="gray">
          <a:xfrm>
            <a:off x="7478134" y="1487479"/>
            <a:ext cx="3122600" cy="269942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21920" tIns="60960" rIns="121920" bIns="60960" numCol="1" spcCol="0" rtlCol="0" fromWordArt="0" anchor="ctr" anchorCtr="0" forceAA="0" compatLnSpc="1">
            <a:prstTxWarp prst="textArchUp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1867" b="1" dirty="0" err="1" smtClean="0">
                <a:solidFill>
                  <a:srgbClr val="A2AD00"/>
                </a:solidFill>
                <a:latin typeface="Calibri" panose="020F0502020204030204" pitchFamily="34" charset="0"/>
                <a:cs typeface="Arial" pitchFamily="34" charset="0"/>
              </a:rPr>
              <a:t>Conscious</a:t>
            </a:r>
            <a:r>
              <a:rPr lang="nl-BE" sz="1867" b="1" dirty="0" smtClean="0">
                <a:solidFill>
                  <a:srgbClr val="A2AD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nl-BE" sz="1867" b="1" dirty="0" err="1" smtClean="0">
                <a:solidFill>
                  <a:srgbClr val="A2AD00"/>
                </a:solidFill>
                <a:latin typeface="Calibri" panose="020F0502020204030204" pitchFamily="34" charset="0"/>
                <a:cs typeface="Arial" pitchFamily="34" charset="0"/>
              </a:rPr>
              <a:t>conformers</a:t>
            </a:r>
            <a:endParaRPr lang="nl-BE" sz="1867" b="1" dirty="0">
              <a:solidFill>
                <a:srgbClr val="A2AD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36" name="Freihandform 22"/>
          <p:cNvSpPr/>
          <p:nvPr>
            <p:custDataLst>
              <p:tags r:id="rId12"/>
            </p:custDataLst>
          </p:nvPr>
        </p:nvSpPr>
        <p:spPr bwMode="gray">
          <a:xfrm rot="19730609">
            <a:off x="3780235" y="2302848"/>
            <a:ext cx="1469033" cy="595619"/>
          </a:xfrm>
          <a:custGeom>
            <a:avLst/>
            <a:gdLst>
              <a:gd name="connsiteX0" fmla="*/ 0 w 1676400"/>
              <a:gd name="connsiteY0" fmla="*/ 628650 h 628650"/>
              <a:gd name="connsiteX1" fmla="*/ 1119188 w 1676400"/>
              <a:gd name="connsiteY1" fmla="*/ 0 h 628650"/>
              <a:gd name="connsiteX2" fmla="*/ 1676400 w 167640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76400" h="628650">
                <a:moveTo>
                  <a:pt x="0" y="628650"/>
                </a:moveTo>
                <a:lnTo>
                  <a:pt x="1119188" y="0"/>
                </a:lnTo>
                <a:lnTo>
                  <a:pt x="1676400" y="0"/>
                </a:lnTo>
              </a:path>
            </a:pathLst>
          </a:custGeom>
          <a:noFill/>
          <a:ln w="1270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7" name="Ellipse 25"/>
          <p:cNvSpPr/>
          <p:nvPr>
            <p:custDataLst>
              <p:tags r:id="rId13"/>
            </p:custDataLst>
          </p:nvPr>
        </p:nvSpPr>
        <p:spPr bwMode="gray">
          <a:xfrm>
            <a:off x="8049434" y="2034107"/>
            <a:ext cx="1980000" cy="1980000"/>
          </a:xfrm>
          <a:prstGeom prst="ellipse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endParaRPr lang="en-US" sz="2133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2216844" y="1422449"/>
            <a:ext cx="833703" cy="576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2667" b="1" dirty="0">
                <a:solidFill>
                  <a:srgbClr val="F0AB00"/>
                </a:solidFill>
                <a:latin typeface="Calibri" panose="020F0502020204030204" pitchFamily="34" charset="0"/>
                <a:cs typeface="Arial" pitchFamily="34" charset="0"/>
              </a:rPr>
              <a:t>8</a:t>
            </a:r>
            <a:r>
              <a:rPr lang="nl-BE" sz="1867" b="1" dirty="0">
                <a:solidFill>
                  <a:srgbClr val="F0AB00"/>
                </a:solidFill>
                <a:latin typeface="Calibri" panose="020F0502020204030204" pitchFamily="34" charset="0"/>
                <a:cs typeface="Arial" pitchFamily="34" charset="0"/>
              </a:rPr>
              <a:t>%</a:t>
            </a:r>
          </a:p>
        </p:txBody>
      </p:sp>
      <p:sp>
        <p:nvSpPr>
          <p:cNvPr id="39" name="Rectangle 38"/>
          <p:cNvSpPr/>
          <p:nvPr/>
        </p:nvSpPr>
        <p:spPr bwMode="gray">
          <a:xfrm>
            <a:off x="8519558" y="2736075"/>
            <a:ext cx="1039751" cy="576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2667" b="1" dirty="0">
                <a:solidFill>
                  <a:srgbClr val="A2AD00"/>
                </a:solidFill>
                <a:latin typeface="Calibri" panose="020F0502020204030204" pitchFamily="34" charset="0"/>
                <a:cs typeface="Arial" pitchFamily="34" charset="0"/>
              </a:rPr>
              <a:t>45%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7790687" y="5267891"/>
            <a:ext cx="1039751" cy="576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2667" b="1" dirty="0">
                <a:solidFill>
                  <a:srgbClr val="C00000"/>
                </a:solidFill>
                <a:latin typeface="Calibri" panose="020F0502020204030204" pitchFamily="34" charset="0"/>
                <a:cs typeface="Arial" pitchFamily="34" charset="0"/>
              </a:rPr>
              <a:t>32%</a:t>
            </a:r>
          </a:p>
        </p:txBody>
      </p:sp>
      <p:sp>
        <p:nvSpPr>
          <p:cNvPr id="42" name="Rectangle 41"/>
          <p:cNvSpPr/>
          <p:nvPr/>
        </p:nvSpPr>
        <p:spPr bwMode="gray">
          <a:xfrm>
            <a:off x="5498134" y="1286661"/>
            <a:ext cx="1039751" cy="576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2667" b="1" dirty="0">
                <a:solidFill>
                  <a:srgbClr val="264283"/>
                </a:solidFill>
                <a:latin typeface="Calibri" panose="020F0502020204030204" pitchFamily="34" charset="0"/>
                <a:cs typeface="Arial" pitchFamily="34" charset="0"/>
              </a:rPr>
              <a:t>15%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1868427" y="5572963"/>
            <a:ext cx="528000" cy="528000"/>
            <a:chOff x="1004134" y="1788049"/>
            <a:chExt cx="1050206" cy="1050207"/>
          </a:xfrm>
          <a:solidFill>
            <a:schemeClr val="bg1"/>
          </a:solidFill>
        </p:grpSpPr>
        <p:sp>
          <p:nvSpPr>
            <p:cNvPr id="45" name="Freeform 6"/>
            <p:cNvSpPr>
              <a:spLocks/>
            </p:cNvSpPr>
            <p:nvPr/>
          </p:nvSpPr>
          <p:spPr bwMode="gray">
            <a:xfrm>
              <a:off x="1526628" y="1788049"/>
              <a:ext cx="527712" cy="801027"/>
            </a:xfrm>
            <a:custGeom>
              <a:avLst/>
              <a:gdLst>
                <a:gd name="T0" fmla="*/ 17 w 1045"/>
                <a:gd name="T1" fmla="*/ 483 h 1587"/>
                <a:gd name="T2" fmla="*/ 5 w 1045"/>
                <a:gd name="T3" fmla="*/ 303 h 1587"/>
                <a:gd name="T4" fmla="*/ 9 w 1045"/>
                <a:gd name="T5" fmla="*/ 250 h 1587"/>
                <a:gd name="T6" fmla="*/ 123 w 1045"/>
                <a:gd name="T7" fmla="*/ 67 h 1587"/>
                <a:gd name="T8" fmla="*/ 329 w 1045"/>
                <a:gd name="T9" fmla="*/ 1 h 1587"/>
                <a:gd name="T10" fmla="*/ 491 w 1045"/>
                <a:gd name="T11" fmla="*/ 41 h 1587"/>
                <a:gd name="T12" fmla="*/ 573 w 1045"/>
                <a:gd name="T13" fmla="*/ 31 h 1587"/>
                <a:gd name="T14" fmla="*/ 696 w 1045"/>
                <a:gd name="T15" fmla="*/ 82 h 1587"/>
                <a:gd name="T16" fmla="*/ 781 w 1045"/>
                <a:gd name="T17" fmla="*/ 185 h 1587"/>
                <a:gd name="T18" fmla="*/ 805 w 1045"/>
                <a:gd name="T19" fmla="*/ 302 h 1587"/>
                <a:gd name="T20" fmla="*/ 793 w 1045"/>
                <a:gd name="T21" fmla="*/ 483 h 1587"/>
                <a:gd name="T22" fmla="*/ 728 w 1045"/>
                <a:gd name="T23" fmla="*/ 670 h 1587"/>
                <a:gd name="T24" fmla="*/ 625 w 1045"/>
                <a:gd name="T25" fmla="*/ 872 h 1587"/>
                <a:gd name="T26" fmla="*/ 634 w 1045"/>
                <a:gd name="T27" fmla="*/ 948 h 1587"/>
                <a:gd name="T28" fmla="*/ 666 w 1045"/>
                <a:gd name="T29" fmla="*/ 1003 h 1587"/>
                <a:gd name="T30" fmla="*/ 757 w 1045"/>
                <a:gd name="T31" fmla="*/ 1041 h 1587"/>
                <a:gd name="T32" fmla="*/ 938 w 1045"/>
                <a:gd name="T33" fmla="*/ 1125 h 1587"/>
                <a:gd name="T34" fmla="*/ 1017 w 1045"/>
                <a:gd name="T35" fmla="*/ 1245 h 1587"/>
                <a:gd name="T36" fmla="*/ 1045 w 1045"/>
                <a:gd name="T37" fmla="*/ 1391 h 1587"/>
                <a:gd name="T38" fmla="*/ 856 w 1045"/>
                <a:gd name="T39" fmla="*/ 1539 h 1587"/>
                <a:gd name="T40" fmla="*/ 405 w 1045"/>
                <a:gd name="T41" fmla="*/ 1587 h 1587"/>
                <a:gd name="T42" fmla="*/ 210 w 1045"/>
                <a:gd name="T43" fmla="*/ 1579 h 1587"/>
                <a:gd name="T44" fmla="*/ 193 w 1045"/>
                <a:gd name="T45" fmla="*/ 1562 h 1587"/>
                <a:gd name="T46" fmla="*/ 81 w 1045"/>
                <a:gd name="T47" fmla="*/ 1494 h 1587"/>
                <a:gd name="T48" fmla="*/ 155 w 1045"/>
                <a:gd name="T49" fmla="*/ 1417 h 1587"/>
                <a:gd name="T50" fmla="*/ 202 w 1045"/>
                <a:gd name="T51" fmla="*/ 1347 h 1587"/>
                <a:gd name="T52" fmla="*/ 151 w 1045"/>
                <a:gd name="T53" fmla="*/ 1279 h 1587"/>
                <a:gd name="T54" fmla="*/ 101 w 1045"/>
                <a:gd name="T55" fmla="*/ 1120 h 1587"/>
                <a:gd name="T56" fmla="*/ 89 w 1045"/>
                <a:gd name="T57" fmla="*/ 1030 h 1587"/>
                <a:gd name="T58" fmla="*/ 143 w 1045"/>
                <a:gd name="T59" fmla="*/ 1004 h 1587"/>
                <a:gd name="T60" fmla="*/ 176 w 1045"/>
                <a:gd name="T61" fmla="*/ 947 h 1587"/>
                <a:gd name="T62" fmla="*/ 185 w 1045"/>
                <a:gd name="T63" fmla="*/ 872 h 1587"/>
                <a:gd name="T64" fmla="*/ 82 w 1045"/>
                <a:gd name="T65" fmla="*/ 670 h 1587"/>
                <a:gd name="T66" fmla="*/ 17 w 1045"/>
                <a:gd name="T67" fmla="*/ 483 h 1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5" h="1587">
                  <a:moveTo>
                    <a:pt x="17" y="483"/>
                  </a:moveTo>
                  <a:cubicBezTo>
                    <a:pt x="13" y="425"/>
                    <a:pt x="6" y="361"/>
                    <a:pt x="5" y="303"/>
                  </a:cubicBezTo>
                  <a:cubicBezTo>
                    <a:pt x="5" y="285"/>
                    <a:pt x="6" y="267"/>
                    <a:pt x="9" y="250"/>
                  </a:cubicBezTo>
                  <a:cubicBezTo>
                    <a:pt x="21" y="172"/>
                    <a:pt x="64" y="110"/>
                    <a:pt x="123" y="67"/>
                  </a:cubicBezTo>
                  <a:cubicBezTo>
                    <a:pt x="181" y="26"/>
                    <a:pt x="254" y="3"/>
                    <a:pt x="329" y="1"/>
                  </a:cubicBezTo>
                  <a:cubicBezTo>
                    <a:pt x="389" y="0"/>
                    <a:pt x="440" y="10"/>
                    <a:pt x="491" y="41"/>
                  </a:cubicBezTo>
                  <a:cubicBezTo>
                    <a:pt x="518" y="32"/>
                    <a:pt x="546" y="29"/>
                    <a:pt x="573" y="31"/>
                  </a:cubicBezTo>
                  <a:cubicBezTo>
                    <a:pt x="617" y="35"/>
                    <a:pt x="660" y="54"/>
                    <a:pt x="696" y="82"/>
                  </a:cubicBezTo>
                  <a:cubicBezTo>
                    <a:pt x="732" y="109"/>
                    <a:pt x="761" y="145"/>
                    <a:pt x="781" y="185"/>
                  </a:cubicBezTo>
                  <a:cubicBezTo>
                    <a:pt x="799" y="222"/>
                    <a:pt x="809" y="263"/>
                    <a:pt x="805" y="302"/>
                  </a:cubicBezTo>
                  <a:cubicBezTo>
                    <a:pt x="793" y="483"/>
                    <a:pt x="793" y="483"/>
                    <a:pt x="793" y="483"/>
                  </a:cubicBezTo>
                  <a:cubicBezTo>
                    <a:pt x="810" y="551"/>
                    <a:pt x="788" y="630"/>
                    <a:pt x="728" y="670"/>
                  </a:cubicBezTo>
                  <a:cubicBezTo>
                    <a:pt x="708" y="736"/>
                    <a:pt x="671" y="819"/>
                    <a:pt x="625" y="872"/>
                  </a:cubicBezTo>
                  <a:cubicBezTo>
                    <a:pt x="626" y="896"/>
                    <a:pt x="628" y="923"/>
                    <a:pt x="634" y="948"/>
                  </a:cubicBezTo>
                  <a:cubicBezTo>
                    <a:pt x="639" y="969"/>
                    <a:pt x="646" y="991"/>
                    <a:pt x="666" y="1003"/>
                  </a:cubicBezTo>
                  <a:cubicBezTo>
                    <a:pt x="700" y="1024"/>
                    <a:pt x="726" y="1032"/>
                    <a:pt x="757" y="1041"/>
                  </a:cubicBezTo>
                  <a:cubicBezTo>
                    <a:pt x="815" y="1059"/>
                    <a:pt x="898" y="1086"/>
                    <a:pt x="938" y="1125"/>
                  </a:cubicBezTo>
                  <a:cubicBezTo>
                    <a:pt x="972" y="1158"/>
                    <a:pt x="999" y="1200"/>
                    <a:pt x="1017" y="1245"/>
                  </a:cubicBezTo>
                  <a:cubicBezTo>
                    <a:pt x="1035" y="1292"/>
                    <a:pt x="1045" y="1343"/>
                    <a:pt x="1045" y="1391"/>
                  </a:cubicBezTo>
                  <a:cubicBezTo>
                    <a:pt x="1045" y="1464"/>
                    <a:pt x="965" y="1511"/>
                    <a:pt x="856" y="1539"/>
                  </a:cubicBezTo>
                  <a:cubicBezTo>
                    <a:pt x="715" y="1576"/>
                    <a:pt x="520" y="1587"/>
                    <a:pt x="405" y="1587"/>
                  </a:cubicBezTo>
                  <a:cubicBezTo>
                    <a:pt x="353" y="1587"/>
                    <a:pt x="283" y="1585"/>
                    <a:pt x="210" y="1579"/>
                  </a:cubicBezTo>
                  <a:cubicBezTo>
                    <a:pt x="205" y="1573"/>
                    <a:pt x="199" y="1567"/>
                    <a:pt x="193" y="1562"/>
                  </a:cubicBezTo>
                  <a:cubicBezTo>
                    <a:pt x="160" y="1529"/>
                    <a:pt x="119" y="1509"/>
                    <a:pt x="81" y="1494"/>
                  </a:cubicBezTo>
                  <a:cubicBezTo>
                    <a:pt x="109" y="1474"/>
                    <a:pt x="134" y="1449"/>
                    <a:pt x="155" y="1417"/>
                  </a:cubicBezTo>
                  <a:cubicBezTo>
                    <a:pt x="202" y="1347"/>
                    <a:pt x="202" y="1347"/>
                    <a:pt x="202" y="1347"/>
                  </a:cubicBezTo>
                  <a:cubicBezTo>
                    <a:pt x="151" y="1279"/>
                    <a:pt x="151" y="1279"/>
                    <a:pt x="151" y="1279"/>
                  </a:cubicBezTo>
                  <a:cubicBezTo>
                    <a:pt x="128" y="1249"/>
                    <a:pt x="112" y="1188"/>
                    <a:pt x="101" y="1120"/>
                  </a:cubicBezTo>
                  <a:cubicBezTo>
                    <a:pt x="96" y="1090"/>
                    <a:pt x="92" y="1059"/>
                    <a:pt x="89" y="1030"/>
                  </a:cubicBezTo>
                  <a:cubicBezTo>
                    <a:pt x="106" y="1024"/>
                    <a:pt x="123" y="1016"/>
                    <a:pt x="143" y="1004"/>
                  </a:cubicBezTo>
                  <a:cubicBezTo>
                    <a:pt x="164" y="990"/>
                    <a:pt x="170" y="971"/>
                    <a:pt x="176" y="947"/>
                  </a:cubicBezTo>
                  <a:cubicBezTo>
                    <a:pt x="180" y="948"/>
                    <a:pt x="185" y="879"/>
                    <a:pt x="185" y="872"/>
                  </a:cubicBezTo>
                  <a:cubicBezTo>
                    <a:pt x="140" y="820"/>
                    <a:pt x="102" y="736"/>
                    <a:pt x="82" y="670"/>
                  </a:cubicBezTo>
                  <a:cubicBezTo>
                    <a:pt x="22" y="630"/>
                    <a:pt x="0" y="551"/>
                    <a:pt x="17" y="4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gray">
            <a:xfrm>
              <a:off x="1004134" y="2035924"/>
              <a:ext cx="646431" cy="802332"/>
            </a:xfrm>
            <a:custGeom>
              <a:avLst/>
              <a:gdLst>
                <a:gd name="T0" fmla="*/ 551 w 1280"/>
                <a:gd name="T1" fmla="*/ 11 h 1589"/>
                <a:gd name="T2" fmla="*/ 640 w 1280"/>
                <a:gd name="T3" fmla="*/ 35 h 1589"/>
                <a:gd name="T4" fmla="*/ 729 w 1280"/>
                <a:gd name="T5" fmla="*/ 11 h 1589"/>
                <a:gd name="T6" fmla="*/ 988 w 1280"/>
                <a:gd name="T7" fmla="*/ 137 h 1589"/>
                <a:gd name="T8" fmla="*/ 1040 w 1280"/>
                <a:gd name="T9" fmla="*/ 323 h 1589"/>
                <a:gd name="T10" fmla="*/ 1057 w 1280"/>
                <a:gd name="T11" fmla="*/ 641 h 1589"/>
                <a:gd name="T12" fmla="*/ 1122 w 1280"/>
                <a:gd name="T13" fmla="*/ 835 h 1589"/>
                <a:gd name="T14" fmla="*/ 1139 w 1280"/>
                <a:gd name="T15" fmla="*/ 858 h 1589"/>
                <a:gd name="T16" fmla="*/ 1123 w 1280"/>
                <a:gd name="T17" fmla="*/ 881 h 1589"/>
                <a:gd name="T18" fmla="*/ 975 w 1280"/>
                <a:gd name="T19" fmla="*/ 977 h 1589"/>
                <a:gd name="T20" fmla="*/ 877 w 1280"/>
                <a:gd name="T21" fmla="*/ 988 h 1589"/>
                <a:gd name="T22" fmla="*/ 900 w 1280"/>
                <a:gd name="T23" fmla="*/ 1004 h 1589"/>
                <a:gd name="T24" fmla="*/ 992 w 1280"/>
                <a:gd name="T25" fmla="*/ 1043 h 1589"/>
                <a:gd name="T26" fmla="*/ 1173 w 1280"/>
                <a:gd name="T27" fmla="*/ 1127 h 1589"/>
                <a:gd name="T28" fmla="*/ 1252 w 1280"/>
                <a:gd name="T29" fmla="*/ 1247 h 1589"/>
                <a:gd name="T30" fmla="*/ 1280 w 1280"/>
                <a:gd name="T31" fmla="*/ 1393 h 1589"/>
                <a:gd name="T32" fmla="*/ 1091 w 1280"/>
                <a:gd name="T33" fmla="*/ 1541 h 1589"/>
                <a:gd name="T34" fmla="*/ 640 w 1280"/>
                <a:gd name="T35" fmla="*/ 1589 h 1589"/>
                <a:gd name="T36" fmla="*/ 189 w 1280"/>
                <a:gd name="T37" fmla="*/ 1541 h 1589"/>
                <a:gd name="T38" fmla="*/ 0 w 1280"/>
                <a:gd name="T39" fmla="*/ 1393 h 1589"/>
                <a:gd name="T40" fmla="*/ 28 w 1280"/>
                <a:gd name="T41" fmla="*/ 1247 h 1589"/>
                <a:gd name="T42" fmla="*/ 107 w 1280"/>
                <a:gd name="T43" fmla="*/ 1127 h 1589"/>
                <a:gd name="T44" fmla="*/ 288 w 1280"/>
                <a:gd name="T45" fmla="*/ 1043 h 1589"/>
                <a:gd name="T46" fmla="*/ 379 w 1280"/>
                <a:gd name="T47" fmla="*/ 1005 h 1589"/>
                <a:gd name="T48" fmla="*/ 380 w 1280"/>
                <a:gd name="T49" fmla="*/ 1004 h 1589"/>
                <a:gd name="T50" fmla="*/ 403 w 1280"/>
                <a:gd name="T51" fmla="*/ 988 h 1589"/>
                <a:gd name="T52" fmla="*/ 157 w 1280"/>
                <a:gd name="T53" fmla="*/ 881 h 1589"/>
                <a:gd name="T54" fmla="*/ 141 w 1280"/>
                <a:gd name="T55" fmla="*/ 858 h 1589"/>
                <a:gd name="T56" fmla="*/ 158 w 1280"/>
                <a:gd name="T57" fmla="*/ 835 h 1589"/>
                <a:gd name="T58" fmla="*/ 223 w 1280"/>
                <a:gd name="T59" fmla="*/ 641 h 1589"/>
                <a:gd name="T60" fmla="*/ 240 w 1280"/>
                <a:gd name="T61" fmla="*/ 323 h 1589"/>
                <a:gd name="T62" fmla="*/ 292 w 1280"/>
                <a:gd name="T63" fmla="*/ 137 h 1589"/>
                <a:gd name="T64" fmla="*/ 551 w 1280"/>
                <a:gd name="T65" fmla="*/ 11 h 1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" h="1589">
                  <a:moveTo>
                    <a:pt x="551" y="11"/>
                  </a:moveTo>
                  <a:cubicBezTo>
                    <a:pt x="581" y="15"/>
                    <a:pt x="611" y="23"/>
                    <a:pt x="640" y="35"/>
                  </a:cubicBezTo>
                  <a:cubicBezTo>
                    <a:pt x="669" y="23"/>
                    <a:pt x="699" y="15"/>
                    <a:pt x="729" y="11"/>
                  </a:cubicBezTo>
                  <a:cubicBezTo>
                    <a:pt x="837" y="1"/>
                    <a:pt x="927" y="45"/>
                    <a:pt x="988" y="137"/>
                  </a:cubicBezTo>
                  <a:cubicBezTo>
                    <a:pt x="1025" y="192"/>
                    <a:pt x="1046" y="259"/>
                    <a:pt x="1040" y="323"/>
                  </a:cubicBezTo>
                  <a:cubicBezTo>
                    <a:pt x="1035" y="378"/>
                    <a:pt x="1036" y="515"/>
                    <a:pt x="1057" y="641"/>
                  </a:cubicBezTo>
                  <a:cubicBezTo>
                    <a:pt x="1070" y="720"/>
                    <a:pt x="1091" y="793"/>
                    <a:pt x="1122" y="835"/>
                  </a:cubicBezTo>
                  <a:cubicBezTo>
                    <a:pt x="1139" y="858"/>
                    <a:pt x="1139" y="858"/>
                    <a:pt x="1139" y="858"/>
                  </a:cubicBezTo>
                  <a:cubicBezTo>
                    <a:pt x="1123" y="881"/>
                    <a:pt x="1123" y="881"/>
                    <a:pt x="1123" y="881"/>
                  </a:cubicBezTo>
                  <a:cubicBezTo>
                    <a:pt x="1087" y="936"/>
                    <a:pt x="1033" y="963"/>
                    <a:pt x="975" y="977"/>
                  </a:cubicBezTo>
                  <a:cubicBezTo>
                    <a:pt x="942" y="984"/>
                    <a:pt x="909" y="987"/>
                    <a:pt x="877" y="988"/>
                  </a:cubicBezTo>
                  <a:cubicBezTo>
                    <a:pt x="882" y="994"/>
                    <a:pt x="890" y="999"/>
                    <a:pt x="900" y="1004"/>
                  </a:cubicBezTo>
                  <a:cubicBezTo>
                    <a:pt x="934" y="1024"/>
                    <a:pt x="954" y="1032"/>
                    <a:pt x="992" y="1043"/>
                  </a:cubicBezTo>
                  <a:cubicBezTo>
                    <a:pt x="1050" y="1061"/>
                    <a:pt x="1133" y="1088"/>
                    <a:pt x="1173" y="1127"/>
                  </a:cubicBezTo>
                  <a:cubicBezTo>
                    <a:pt x="1207" y="1160"/>
                    <a:pt x="1234" y="1202"/>
                    <a:pt x="1252" y="1247"/>
                  </a:cubicBezTo>
                  <a:cubicBezTo>
                    <a:pt x="1270" y="1294"/>
                    <a:pt x="1280" y="1345"/>
                    <a:pt x="1280" y="1393"/>
                  </a:cubicBezTo>
                  <a:cubicBezTo>
                    <a:pt x="1280" y="1466"/>
                    <a:pt x="1200" y="1513"/>
                    <a:pt x="1091" y="1541"/>
                  </a:cubicBezTo>
                  <a:cubicBezTo>
                    <a:pt x="950" y="1577"/>
                    <a:pt x="755" y="1589"/>
                    <a:pt x="640" y="1589"/>
                  </a:cubicBezTo>
                  <a:cubicBezTo>
                    <a:pt x="525" y="1589"/>
                    <a:pt x="330" y="1577"/>
                    <a:pt x="189" y="1541"/>
                  </a:cubicBezTo>
                  <a:cubicBezTo>
                    <a:pt x="80" y="1513"/>
                    <a:pt x="0" y="1466"/>
                    <a:pt x="0" y="1393"/>
                  </a:cubicBezTo>
                  <a:cubicBezTo>
                    <a:pt x="0" y="1345"/>
                    <a:pt x="10" y="1294"/>
                    <a:pt x="28" y="1247"/>
                  </a:cubicBezTo>
                  <a:cubicBezTo>
                    <a:pt x="46" y="1202"/>
                    <a:pt x="73" y="1160"/>
                    <a:pt x="107" y="1127"/>
                  </a:cubicBezTo>
                  <a:cubicBezTo>
                    <a:pt x="147" y="1088"/>
                    <a:pt x="231" y="1061"/>
                    <a:pt x="288" y="1043"/>
                  </a:cubicBezTo>
                  <a:cubicBezTo>
                    <a:pt x="319" y="1034"/>
                    <a:pt x="345" y="1026"/>
                    <a:pt x="379" y="1005"/>
                  </a:cubicBezTo>
                  <a:cubicBezTo>
                    <a:pt x="380" y="1004"/>
                    <a:pt x="380" y="1004"/>
                    <a:pt x="380" y="1004"/>
                  </a:cubicBezTo>
                  <a:cubicBezTo>
                    <a:pt x="390" y="999"/>
                    <a:pt x="397" y="994"/>
                    <a:pt x="403" y="988"/>
                  </a:cubicBezTo>
                  <a:cubicBezTo>
                    <a:pt x="314" y="985"/>
                    <a:pt x="216" y="969"/>
                    <a:pt x="157" y="881"/>
                  </a:cubicBezTo>
                  <a:cubicBezTo>
                    <a:pt x="141" y="858"/>
                    <a:pt x="141" y="858"/>
                    <a:pt x="141" y="858"/>
                  </a:cubicBezTo>
                  <a:cubicBezTo>
                    <a:pt x="158" y="835"/>
                    <a:pt x="158" y="835"/>
                    <a:pt x="158" y="835"/>
                  </a:cubicBezTo>
                  <a:cubicBezTo>
                    <a:pt x="189" y="793"/>
                    <a:pt x="210" y="720"/>
                    <a:pt x="223" y="641"/>
                  </a:cubicBezTo>
                  <a:cubicBezTo>
                    <a:pt x="244" y="515"/>
                    <a:pt x="245" y="378"/>
                    <a:pt x="240" y="323"/>
                  </a:cubicBezTo>
                  <a:cubicBezTo>
                    <a:pt x="234" y="259"/>
                    <a:pt x="255" y="192"/>
                    <a:pt x="292" y="137"/>
                  </a:cubicBezTo>
                  <a:cubicBezTo>
                    <a:pt x="352" y="47"/>
                    <a:pt x="444" y="0"/>
                    <a:pt x="55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47" name="Parallelogram 46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  <a:defRPr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pic>
          <p:nvPicPr>
            <p:cNvPr id="50" name="Picture 49"/>
            <p:cNvPicPr>
              <a:picLocks noChangeAspect="1"/>
            </p:cNvPicPr>
            <p:nvPr/>
          </p:nvPicPr>
          <p:blipFill rotWithShape="1"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635"/>
            <a:stretch/>
          </p:blipFill>
          <p:spPr>
            <a:xfrm rot="2367436">
              <a:off x="441856" y="152573"/>
              <a:ext cx="187217" cy="266720"/>
            </a:xfrm>
            <a:prstGeom prst="rect">
              <a:avLst/>
            </a:prstGeom>
          </p:spPr>
        </p:pic>
        <p:sp>
          <p:nvSpPr>
            <p:cNvPr id="51" name="Freeform 11"/>
            <p:cNvSpPr>
              <a:spLocks noChangeAspect="1"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277179" y="400520"/>
              <a:ext cx="149163" cy="173812"/>
            </a:xfrm>
            <a:custGeom>
              <a:avLst/>
              <a:gdLst>
                <a:gd name="T0" fmla="*/ 68 w 1693"/>
                <a:gd name="T1" fmla="*/ 1211 h 1973"/>
                <a:gd name="T2" fmla="*/ 8 w 1693"/>
                <a:gd name="T3" fmla="*/ 900 h 1973"/>
                <a:gd name="T4" fmla="*/ 108 w 1693"/>
                <a:gd name="T5" fmla="*/ 558 h 1973"/>
                <a:gd name="T6" fmla="*/ 340 w 1693"/>
                <a:gd name="T7" fmla="*/ 409 h 1973"/>
                <a:gd name="T8" fmla="*/ 680 w 1693"/>
                <a:gd name="T9" fmla="*/ 705 h 1973"/>
                <a:gd name="T10" fmla="*/ 694 w 1693"/>
                <a:gd name="T11" fmla="*/ 1022 h 1973"/>
                <a:gd name="T12" fmla="*/ 704 w 1693"/>
                <a:gd name="T13" fmla="*/ 1334 h 1973"/>
                <a:gd name="T14" fmla="*/ 711 w 1693"/>
                <a:gd name="T15" fmla="*/ 1369 h 1973"/>
                <a:gd name="T16" fmla="*/ 204 w 1693"/>
                <a:gd name="T17" fmla="*/ 1528 h 1973"/>
                <a:gd name="T18" fmla="*/ 188 w 1693"/>
                <a:gd name="T19" fmla="*/ 1496 h 1973"/>
                <a:gd name="T20" fmla="*/ 68 w 1693"/>
                <a:gd name="T21" fmla="*/ 1211 h 1973"/>
                <a:gd name="T22" fmla="*/ 709 w 1693"/>
                <a:gd name="T23" fmla="*/ 1480 h 1973"/>
                <a:gd name="T24" fmla="*/ 738 w 1693"/>
                <a:gd name="T25" fmla="*/ 1558 h 1973"/>
                <a:gd name="T26" fmla="*/ 610 w 1693"/>
                <a:gd name="T27" fmla="*/ 1929 h 1973"/>
                <a:gd name="T28" fmla="*/ 557 w 1693"/>
                <a:gd name="T29" fmla="*/ 1945 h 1973"/>
                <a:gd name="T30" fmla="*/ 247 w 1693"/>
                <a:gd name="T31" fmla="*/ 1712 h 1973"/>
                <a:gd name="T32" fmla="*/ 230 w 1693"/>
                <a:gd name="T33" fmla="*/ 1636 h 1973"/>
                <a:gd name="T34" fmla="*/ 709 w 1693"/>
                <a:gd name="T35" fmla="*/ 1480 h 1973"/>
                <a:gd name="T36" fmla="*/ 1685 w 1693"/>
                <a:gd name="T37" fmla="*/ 501 h 1973"/>
                <a:gd name="T38" fmla="*/ 1625 w 1693"/>
                <a:gd name="T39" fmla="*/ 813 h 1973"/>
                <a:gd name="T40" fmla="*/ 1504 w 1693"/>
                <a:gd name="T41" fmla="*/ 1098 h 1973"/>
                <a:gd name="T42" fmla="*/ 1489 w 1693"/>
                <a:gd name="T43" fmla="*/ 1129 h 1973"/>
                <a:gd name="T44" fmla="*/ 982 w 1693"/>
                <a:gd name="T45" fmla="*/ 970 h 1973"/>
                <a:gd name="T46" fmla="*/ 989 w 1693"/>
                <a:gd name="T47" fmla="*/ 935 h 1973"/>
                <a:gd name="T48" fmla="*/ 999 w 1693"/>
                <a:gd name="T49" fmla="*/ 624 h 1973"/>
                <a:gd name="T50" fmla="*/ 1013 w 1693"/>
                <a:gd name="T51" fmla="*/ 307 h 1973"/>
                <a:gd name="T52" fmla="*/ 1352 w 1693"/>
                <a:gd name="T53" fmla="*/ 10 h 1973"/>
                <a:gd name="T54" fmla="*/ 1584 w 1693"/>
                <a:gd name="T55" fmla="*/ 159 h 1973"/>
                <a:gd name="T56" fmla="*/ 1685 w 1693"/>
                <a:gd name="T57" fmla="*/ 501 h 1973"/>
                <a:gd name="T58" fmla="*/ 1463 w 1693"/>
                <a:gd name="T59" fmla="*/ 1238 h 1973"/>
                <a:gd name="T60" fmla="*/ 1456 w 1693"/>
                <a:gd name="T61" fmla="*/ 1272 h 1973"/>
                <a:gd name="T62" fmla="*/ 1446 w 1693"/>
                <a:gd name="T63" fmla="*/ 1314 h 1973"/>
                <a:gd name="T64" fmla="*/ 1136 w 1693"/>
                <a:gd name="T65" fmla="*/ 1546 h 1973"/>
                <a:gd name="T66" fmla="*/ 1105 w 1693"/>
                <a:gd name="T67" fmla="*/ 1539 h 1973"/>
                <a:gd name="T68" fmla="*/ 1082 w 1693"/>
                <a:gd name="T69" fmla="*/ 1531 h 1973"/>
                <a:gd name="T70" fmla="*/ 954 w 1693"/>
                <a:gd name="T71" fmla="*/ 1160 h 1973"/>
                <a:gd name="T72" fmla="*/ 970 w 1693"/>
                <a:gd name="T73" fmla="*/ 1117 h 1973"/>
                <a:gd name="T74" fmla="*/ 984 w 1693"/>
                <a:gd name="T75" fmla="*/ 1082 h 1973"/>
                <a:gd name="T76" fmla="*/ 1463 w 1693"/>
                <a:gd name="T77" fmla="*/ 1238 h 1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3" h="1973">
                  <a:moveTo>
                    <a:pt x="68" y="1211"/>
                  </a:moveTo>
                  <a:cubicBezTo>
                    <a:pt x="36" y="1116"/>
                    <a:pt x="16" y="1018"/>
                    <a:pt x="8" y="900"/>
                  </a:cubicBezTo>
                  <a:cubicBezTo>
                    <a:pt x="0" y="783"/>
                    <a:pt x="40" y="653"/>
                    <a:pt x="108" y="558"/>
                  </a:cubicBezTo>
                  <a:cubicBezTo>
                    <a:pt x="163" y="481"/>
                    <a:pt x="243" y="416"/>
                    <a:pt x="340" y="409"/>
                  </a:cubicBezTo>
                  <a:cubicBezTo>
                    <a:pt x="504" y="398"/>
                    <a:pt x="640" y="560"/>
                    <a:pt x="680" y="705"/>
                  </a:cubicBezTo>
                  <a:cubicBezTo>
                    <a:pt x="709" y="810"/>
                    <a:pt x="703" y="915"/>
                    <a:pt x="694" y="1022"/>
                  </a:cubicBezTo>
                  <a:cubicBezTo>
                    <a:pt x="682" y="1148"/>
                    <a:pt x="678" y="1199"/>
                    <a:pt x="704" y="1334"/>
                  </a:cubicBezTo>
                  <a:cubicBezTo>
                    <a:pt x="711" y="1369"/>
                    <a:pt x="711" y="1369"/>
                    <a:pt x="711" y="1369"/>
                  </a:cubicBezTo>
                  <a:cubicBezTo>
                    <a:pt x="542" y="1422"/>
                    <a:pt x="373" y="1474"/>
                    <a:pt x="204" y="1528"/>
                  </a:cubicBezTo>
                  <a:cubicBezTo>
                    <a:pt x="188" y="1496"/>
                    <a:pt x="188" y="1496"/>
                    <a:pt x="188" y="1496"/>
                  </a:cubicBezTo>
                  <a:cubicBezTo>
                    <a:pt x="139" y="1396"/>
                    <a:pt x="98" y="1306"/>
                    <a:pt x="68" y="1211"/>
                  </a:cubicBezTo>
                  <a:close/>
                  <a:moveTo>
                    <a:pt x="709" y="1480"/>
                  </a:moveTo>
                  <a:cubicBezTo>
                    <a:pt x="720" y="1506"/>
                    <a:pt x="730" y="1532"/>
                    <a:pt x="738" y="1558"/>
                  </a:cubicBezTo>
                  <a:cubicBezTo>
                    <a:pt x="782" y="1701"/>
                    <a:pt x="767" y="1867"/>
                    <a:pt x="610" y="1929"/>
                  </a:cubicBezTo>
                  <a:cubicBezTo>
                    <a:pt x="593" y="1936"/>
                    <a:pt x="575" y="1941"/>
                    <a:pt x="557" y="1945"/>
                  </a:cubicBezTo>
                  <a:cubicBezTo>
                    <a:pt x="402" y="1973"/>
                    <a:pt x="288" y="1849"/>
                    <a:pt x="247" y="1712"/>
                  </a:cubicBezTo>
                  <a:cubicBezTo>
                    <a:pt x="239" y="1687"/>
                    <a:pt x="235" y="1662"/>
                    <a:pt x="230" y="1636"/>
                  </a:cubicBezTo>
                  <a:lnTo>
                    <a:pt x="709" y="1480"/>
                  </a:lnTo>
                  <a:close/>
                  <a:moveTo>
                    <a:pt x="1685" y="501"/>
                  </a:moveTo>
                  <a:cubicBezTo>
                    <a:pt x="1677" y="619"/>
                    <a:pt x="1656" y="718"/>
                    <a:pt x="1625" y="813"/>
                  </a:cubicBezTo>
                  <a:cubicBezTo>
                    <a:pt x="1594" y="908"/>
                    <a:pt x="1553" y="997"/>
                    <a:pt x="1504" y="1098"/>
                  </a:cubicBezTo>
                  <a:cubicBezTo>
                    <a:pt x="1489" y="1129"/>
                    <a:pt x="1489" y="1129"/>
                    <a:pt x="1489" y="1129"/>
                  </a:cubicBezTo>
                  <a:cubicBezTo>
                    <a:pt x="982" y="970"/>
                    <a:pt x="982" y="970"/>
                    <a:pt x="982" y="970"/>
                  </a:cubicBezTo>
                  <a:cubicBezTo>
                    <a:pt x="989" y="935"/>
                    <a:pt x="989" y="935"/>
                    <a:pt x="989" y="935"/>
                  </a:cubicBezTo>
                  <a:cubicBezTo>
                    <a:pt x="1015" y="801"/>
                    <a:pt x="1011" y="750"/>
                    <a:pt x="999" y="624"/>
                  </a:cubicBezTo>
                  <a:cubicBezTo>
                    <a:pt x="990" y="517"/>
                    <a:pt x="984" y="412"/>
                    <a:pt x="1013" y="307"/>
                  </a:cubicBezTo>
                  <a:cubicBezTo>
                    <a:pt x="1053" y="162"/>
                    <a:pt x="1189" y="0"/>
                    <a:pt x="1352" y="10"/>
                  </a:cubicBezTo>
                  <a:cubicBezTo>
                    <a:pt x="1450" y="17"/>
                    <a:pt x="1530" y="83"/>
                    <a:pt x="1584" y="159"/>
                  </a:cubicBezTo>
                  <a:cubicBezTo>
                    <a:pt x="1652" y="255"/>
                    <a:pt x="1693" y="385"/>
                    <a:pt x="1685" y="501"/>
                  </a:cubicBezTo>
                  <a:close/>
                  <a:moveTo>
                    <a:pt x="1463" y="1238"/>
                  </a:moveTo>
                  <a:cubicBezTo>
                    <a:pt x="1456" y="1272"/>
                    <a:pt x="1456" y="1272"/>
                    <a:pt x="1456" y="1272"/>
                  </a:cubicBezTo>
                  <a:cubicBezTo>
                    <a:pt x="1454" y="1286"/>
                    <a:pt x="1450" y="1300"/>
                    <a:pt x="1446" y="1314"/>
                  </a:cubicBezTo>
                  <a:cubicBezTo>
                    <a:pt x="1404" y="1451"/>
                    <a:pt x="1291" y="1575"/>
                    <a:pt x="1136" y="1546"/>
                  </a:cubicBezTo>
                  <a:cubicBezTo>
                    <a:pt x="1126" y="1544"/>
                    <a:pt x="1115" y="1542"/>
                    <a:pt x="1105" y="1539"/>
                  </a:cubicBezTo>
                  <a:cubicBezTo>
                    <a:pt x="1097" y="1536"/>
                    <a:pt x="1090" y="1534"/>
                    <a:pt x="1082" y="1531"/>
                  </a:cubicBezTo>
                  <a:cubicBezTo>
                    <a:pt x="895" y="1456"/>
                    <a:pt x="904" y="1323"/>
                    <a:pt x="954" y="1160"/>
                  </a:cubicBezTo>
                  <a:cubicBezTo>
                    <a:pt x="959" y="1146"/>
                    <a:pt x="964" y="1131"/>
                    <a:pt x="970" y="1117"/>
                  </a:cubicBezTo>
                  <a:cubicBezTo>
                    <a:pt x="984" y="1082"/>
                    <a:pt x="984" y="1082"/>
                    <a:pt x="984" y="1082"/>
                  </a:cubicBezTo>
                  <a:lnTo>
                    <a:pt x="1463" y="12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" name="Oval 7"/>
          <p:cNvSpPr/>
          <p:nvPr/>
        </p:nvSpPr>
        <p:spPr bwMode="gray">
          <a:xfrm>
            <a:off x="1128340" y="1489042"/>
            <a:ext cx="720000" cy="720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1</a:t>
            </a:r>
          </a:p>
        </p:txBody>
      </p:sp>
      <p:sp>
        <p:nvSpPr>
          <p:cNvPr id="57" name="Oval 56"/>
          <p:cNvSpPr/>
          <p:nvPr/>
        </p:nvSpPr>
        <p:spPr bwMode="gray">
          <a:xfrm>
            <a:off x="4675042" y="1603769"/>
            <a:ext cx="720000" cy="720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2</a:t>
            </a:r>
          </a:p>
        </p:txBody>
      </p:sp>
      <p:sp>
        <p:nvSpPr>
          <p:cNvPr id="60" name="Oval 59"/>
          <p:cNvSpPr/>
          <p:nvPr/>
        </p:nvSpPr>
        <p:spPr bwMode="gray">
          <a:xfrm>
            <a:off x="8783257" y="3600010"/>
            <a:ext cx="720000" cy="720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3</a:t>
            </a:r>
          </a:p>
        </p:txBody>
      </p:sp>
      <p:sp>
        <p:nvSpPr>
          <p:cNvPr id="61" name="Oval 60"/>
          <p:cNvSpPr/>
          <p:nvPr/>
        </p:nvSpPr>
        <p:spPr bwMode="gray">
          <a:xfrm>
            <a:off x="6923299" y="5229405"/>
            <a:ext cx="720000" cy="720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53737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ounded Rectangle 61"/>
          <p:cNvSpPr/>
          <p:nvPr/>
        </p:nvSpPr>
        <p:spPr bwMode="gray">
          <a:xfrm>
            <a:off x="6966340" y="1671712"/>
            <a:ext cx="4589217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760" y="208119"/>
            <a:ext cx="2095288" cy="2739997"/>
          </a:xfrm>
          <a:prstGeom prst="rect">
            <a:avLst/>
          </a:prstGeom>
        </p:spPr>
      </p:pic>
      <p:sp>
        <p:nvSpPr>
          <p:cNvPr id="63" name="Rounded Rectangle 62"/>
          <p:cNvSpPr/>
          <p:nvPr/>
        </p:nvSpPr>
        <p:spPr bwMode="gray">
          <a:xfrm>
            <a:off x="919532" y="1671711"/>
            <a:ext cx="5923396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1280533" y="2396886"/>
            <a:ext cx="497203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nnen en vrouwen die vaker deel uitmaken van een </a:t>
            </a:r>
            <a:b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agere sociale klasse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werkzoekenden of studenten)</a:t>
            </a:r>
            <a:b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n vaak de trein nemen</a:t>
            </a:r>
          </a:p>
        </p:txBody>
      </p:sp>
      <p:sp>
        <p:nvSpPr>
          <p:cNvPr id="48" name="TextBox 47"/>
          <p:cNvSpPr txBox="1"/>
          <p:nvPr/>
        </p:nvSpPr>
        <p:spPr bwMode="gray">
          <a:xfrm>
            <a:off x="2823023" y="721050"/>
            <a:ext cx="8135312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F0AB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Maak hen bewust van de gevaren </a:t>
            </a:r>
          </a:p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F0AB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en de verkeersregel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18" name="Parallelogram 17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635"/>
            <a:stretch/>
          </p:blipFill>
          <p:spPr>
            <a:xfrm rot="2367436">
              <a:off x="441856" y="152573"/>
              <a:ext cx="187217" cy="266720"/>
            </a:xfrm>
            <a:prstGeom prst="rect">
              <a:avLst/>
            </a:prstGeom>
          </p:spPr>
        </p:pic>
        <p:sp>
          <p:nvSpPr>
            <p:cNvPr id="21" name="Freeform 11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77179" y="400520"/>
              <a:ext cx="149163" cy="173812"/>
            </a:xfrm>
            <a:custGeom>
              <a:avLst/>
              <a:gdLst>
                <a:gd name="T0" fmla="*/ 68 w 1693"/>
                <a:gd name="T1" fmla="*/ 1211 h 1973"/>
                <a:gd name="T2" fmla="*/ 8 w 1693"/>
                <a:gd name="T3" fmla="*/ 900 h 1973"/>
                <a:gd name="T4" fmla="*/ 108 w 1693"/>
                <a:gd name="T5" fmla="*/ 558 h 1973"/>
                <a:gd name="T6" fmla="*/ 340 w 1693"/>
                <a:gd name="T7" fmla="*/ 409 h 1973"/>
                <a:gd name="T8" fmla="*/ 680 w 1693"/>
                <a:gd name="T9" fmla="*/ 705 h 1973"/>
                <a:gd name="T10" fmla="*/ 694 w 1693"/>
                <a:gd name="T11" fmla="*/ 1022 h 1973"/>
                <a:gd name="T12" fmla="*/ 704 w 1693"/>
                <a:gd name="T13" fmla="*/ 1334 h 1973"/>
                <a:gd name="T14" fmla="*/ 711 w 1693"/>
                <a:gd name="T15" fmla="*/ 1369 h 1973"/>
                <a:gd name="T16" fmla="*/ 204 w 1693"/>
                <a:gd name="T17" fmla="*/ 1528 h 1973"/>
                <a:gd name="T18" fmla="*/ 188 w 1693"/>
                <a:gd name="T19" fmla="*/ 1496 h 1973"/>
                <a:gd name="T20" fmla="*/ 68 w 1693"/>
                <a:gd name="T21" fmla="*/ 1211 h 1973"/>
                <a:gd name="T22" fmla="*/ 709 w 1693"/>
                <a:gd name="T23" fmla="*/ 1480 h 1973"/>
                <a:gd name="T24" fmla="*/ 738 w 1693"/>
                <a:gd name="T25" fmla="*/ 1558 h 1973"/>
                <a:gd name="T26" fmla="*/ 610 w 1693"/>
                <a:gd name="T27" fmla="*/ 1929 h 1973"/>
                <a:gd name="T28" fmla="*/ 557 w 1693"/>
                <a:gd name="T29" fmla="*/ 1945 h 1973"/>
                <a:gd name="T30" fmla="*/ 247 w 1693"/>
                <a:gd name="T31" fmla="*/ 1712 h 1973"/>
                <a:gd name="T32" fmla="*/ 230 w 1693"/>
                <a:gd name="T33" fmla="*/ 1636 h 1973"/>
                <a:gd name="T34" fmla="*/ 709 w 1693"/>
                <a:gd name="T35" fmla="*/ 1480 h 1973"/>
                <a:gd name="T36" fmla="*/ 1685 w 1693"/>
                <a:gd name="T37" fmla="*/ 501 h 1973"/>
                <a:gd name="T38" fmla="*/ 1625 w 1693"/>
                <a:gd name="T39" fmla="*/ 813 h 1973"/>
                <a:gd name="T40" fmla="*/ 1504 w 1693"/>
                <a:gd name="T41" fmla="*/ 1098 h 1973"/>
                <a:gd name="T42" fmla="*/ 1489 w 1693"/>
                <a:gd name="T43" fmla="*/ 1129 h 1973"/>
                <a:gd name="T44" fmla="*/ 982 w 1693"/>
                <a:gd name="T45" fmla="*/ 970 h 1973"/>
                <a:gd name="T46" fmla="*/ 989 w 1693"/>
                <a:gd name="T47" fmla="*/ 935 h 1973"/>
                <a:gd name="T48" fmla="*/ 999 w 1693"/>
                <a:gd name="T49" fmla="*/ 624 h 1973"/>
                <a:gd name="T50" fmla="*/ 1013 w 1693"/>
                <a:gd name="T51" fmla="*/ 307 h 1973"/>
                <a:gd name="T52" fmla="*/ 1352 w 1693"/>
                <a:gd name="T53" fmla="*/ 10 h 1973"/>
                <a:gd name="T54" fmla="*/ 1584 w 1693"/>
                <a:gd name="T55" fmla="*/ 159 h 1973"/>
                <a:gd name="T56" fmla="*/ 1685 w 1693"/>
                <a:gd name="T57" fmla="*/ 501 h 1973"/>
                <a:gd name="T58" fmla="*/ 1463 w 1693"/>
                <a:gd name="T59" fmla="*/ 1238 h 1973"/>
                <a:gd name="T60" fmla="*/ 1456 w 1693"/>
                <a:gd name="T61" fmla="*/ 1272 h 1973"/>
                <a:gd name="T62" fmla="*/ 1446 w 1693"/>
                <a:gd name="T63" fmla="*/ 1314 h 1973"/>
                <a:gd name="T64" fmla="*/ 1136 w 1693"/>
                <a:gd name="T65" fmla="*/ 1546 h 1973"/>
                <a:gd name="T66" fmla="*/ 1105 w 1693"/>
                <a:gd name="T67" fmla="*/ 1539 h 1973"/>
                <a:gd name="T68" fmla="*/ 1082 w 1693"/>
                <a:gd name="T69" fmla="*/ 1531 h 1973"/>
                <a:gd name="T70" fmla="*/ 954 w 1693"/>
                <a:gd name="T71" fmla="*/ 1160 h 1973"/>
                <a:gd name="T72" fmla="*/ 970 w 1693"/>
                <a:gd name="T73" fmla="*/ 1117 h 1973"/>
                <a:gd name="T74" fmla="*/ 984 w 1693"/>
                <a:gd name="T75" fmla="*/ 1082 h 1973"/>
                <a:gd name="T76" fmla="*/ 1463 w 1693"/>
                <a:gd name="T77" fmla="*/ 1238 h 1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3" h="1973">
                  <a:moveTo>
                    <a:pt x="68" y="1211"/>
                  </a:moveTo>
                  <a:cubicBezTo>
                    <a:pt x="36" y="1116"/>
                    <a:pt x="16" y="1018"/>
                    <a:pt x="8" y="900"/>
                  </a:cubicBezTo>
                  <a:cubicBezTo>
                    <a:pt x="0" y="783"/>
                    <a:pt x="40" y="653"/>
                    <a:pt x="108" y="558"/>
                  </a:cubicBezTo>
                  <a:cubicBezTo>
                    <a:pt x="163" y="481"/>
                    <a:pt x="243" y="416"/>
                    <a:pt x="340" y="409"/>
                  </a:cubicBezTo>
                  <a:cubicBezTo>
                    <a:pt x="504" y="398"/>
                    <a:pt x="640" y="560"/>
                    <a:pt x="680" y="705"/>
                  </a:cubicBezTo>
                  <a:cubicBezTo>
                    <a:pt x="709" y="810"/>
                    <a:pt x="703" y="915"/>
                    <a:pt x="694" y="1022"/>
                  </a:cubicBezTo>
                  <a:cubicBezTo>
                    <a:pt x="682" y="1148"/>
                    <a:pt x="678" y="1199"/>
                    <a:pt x="704" y="1334"/>
                  </a:cubicBezTo>
                  <a:cubicBezTo>
                    <a:pt x="711" y="1369"/>
                    <a:pt x="711" y="1369"/>
                    <a:pt x="711" y="1369"/>
                  </a:cubicBezTo>
                  <a:cubicBezTo>
                    <a:pt x="542" y="1422"/>
                    <a:pt x="373" y="1474"/>
                    <a:pt x="204" y="1528"/>
                  </a:cubicBezTo>
                  <a:cubicBezTo>
                    <a:pt x="188" y="1496"/>
                    <a:pt x="188" y="1496"/>
                    <a:pt x="188" y="1496"/>
                  </a:cubicBezTo>
                  <a:cubicBezTo>
                    <a:pt x="139" y="1396"/>
                    <a:pt x="98" y="1306"/>
                    <a:pt x="68" y="1211"/>
                  </a:cubicBezTo>
                  <a:close/>
                  <a:moveTo>
                    <a:pt x="709" y="1480"/>
                  </a:moveTo>
                  <a:cubicBezTo>
                    <a:pt x="720" y="1506"/>
                    <a:pt x="730" y="1532"/>
                    <a:pt x="738" y="1558"/>
                  </a:cubicBezTo>
                  <a:cubicBezTo>
                    <a:pt x="782" y="1701"/>
                    <a:pt x="767" y="1867"/>
                    <a:pt x="610" y="1929"/>
                  </a:cubicBezTo>
                  <a:cubicBezTo>
                    <a:pt x="593" y="1936"/>
                    <a:pt x="575" y="1941"/>
                    <a:pt x="557" y="1945"/>
                  </a:cubicBezTo>
                  <a:cubicBezTo>
                    <a:pt x="402" y="1973"/>
                    <a:pt x="288" y="1849"/>
                    <a:pt x="247" y="1712"/>
                  </a:cubicBezTo>
                  <a:cubicBezTo>
                    <a:pt x="239" y="1687"/>
                    <a:pt x="235" y="1662"/>
                    <a:pt x="230" y="1636"/>
                  </a:cubicBezTo>
                  <a:lnTo>
                    <a:pt x="709" y="1480"/>
                  </a:lnTo>
                  <a:close/>
                  <a:moveTo>
                    <a:pt x="1685" y="501"/>
                  </a:moveTo>
                  <a:cubicBezTo>
                    <a:pt x="1677" y="619"/>
                    <a:pt x="1656" y="718"/>
                    <a:pt x="1625" y="813"/>
                  </a:cubicBezTo>
                  <a:cubicBezTo>
                    <a:pt x="1594" y="908"/>
                    <a:pt x="1553" y="997"/>
                    <a:pt x="1504" y="1098"/>
                  </a:cubicBezTo>
                  <a:cubicBezTo>
                    <a:pt x="1489" y="1129"/>
                    <a:pt x="1489" y="1129"/>
                    <a:pt x="1489" y="1129"/>
                  </a:cubicBezTo>
                  <a:cubicBezTo>
                    <a:pt x="982" y="970"/>
                    <a:pt x="982" y="970"/>
                    <a:pt x="982" y="970"/>
                  </a:cubicBezTo>
                  <a:cubicBezTo>
                    <a:pt x="989" y="935"/>
                    <a:pt x="989" y="935"/>
                    <a:pt x="989" y="935"/>
                  </a:cubicBezTo>
                  <a:cubicBezTo>
                    <a:pt x="1015" y="801"/>
                    <a:pt x="1011" y="750"/>
                    <a:pt x="999" y="624"/>
                  </a:cubicBezTo>
                  <a:cubicBezTo>
                    <a:pt x="990" y="517"/>
                    <a:pt x="984" y="412"/>
                    <a:pt x="1013" y="307"/>
                  </a:cubicBezTo>
                  <a:cubicBezTo>
                    <a:pt x="1053" y="162"/>
                    <a:pt x="1189" y="0"/>
                    <a:pt x="1352" y="10"/>
                  </a:cubicBezTo>
                  <a:cubicBezTo>
                    <a:pt x="1450" y="17"/>
                    <a:pt x="1530" y="83"/>
                    <a:pt x="1584" y="159"/>
                  </a:cubicBezTo>
                  <a:cubicBezTo>
                    <a:pt x="1652" y="255"/>
                    <a:pt x="1693" y="385"/>
                    <a:pt x="1685" y="501"/>
                  </a:cubicBezTo>
                  <a:close/>
                  <a:moveTo>
                    <a:pt x="1463" y="1238"/>
                  </a:moveTo>
                  <a:cubicBezTo>
                    <a:pt x="1456" y="1272"/>
                    <a:pt x="1456" y="1272"/>
                    <a:pt x="1456" y="1272"/>
                  </a:cubicBezTo>
                  <a:cubicBezTo>
                    <a:pt x="1454" y="1286"/>
                    <a:pt x="1450" y="1300"/>
                    <a:pt x="1446" y="1314"/>
                  </a:cubicBezTo>
                  <a:cubicBezTo>
                    <a:pt x="1404" y="1451"/>
                    <a:pt x="1291" y="1575"/>
                    <a:pt x="1136" y="1546"/>
                  </a:cubicBezTo>
                  <a:cubicBezTo>
                    <a:pt x="1126" y="1544"/>
                    <a:pt x="1115" y="1542"/>
                    <a:pt x="1105" y="1539"/>
                  </a:cubicBezTo>
                  <a:cubicBezTo>
                    <a:pt x="1097" y="1536"/>
                    <a:pt x="1090" y="1534"/>
                    <a:pt x="1082" y="1531"/>
                  </a:cubicBezTo>
                  <a:cubicBezTo>
                    <a:pt x="895" y="1456"/>
                    <a:pt x="904" y="1323"/>
                    <a:pt x="954" y="1160"/>
                  </a:cubicBezTo>
                  <a:cubicBezTo>
                    <a:pt x="959" y="1146"/>
                    <a:pt x="964" y="1131"/>
                    <a:pt x="970" y="1117"/>
                  </a:cubicBezTo>
                  <a:cubicBezTo>
                    <a:pt x="984" y="1082"/>
                    <a:pt x="984" y="1082"/>
                    <a:pt x="984" y="1082"/>
                  </a:cubicBezTo>
                  <a:lnTo>
                    <a:pt x="1463" y="12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 bwMode="gray">
          <a:xfrm>
            <a:off x="1280533" y="2055882"/>
            <a:ext cx="8280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E?</a:t>
            </a:r>
          </a:p>
        </p:txBody>
      </p:sp>
      <p:sp>
        <p:nvSpPr>
          <p:cNvPr id="34" name="TextBox 33"/>
          <p:cNvSpPr txBox="1"/>
          <p:nvPr/>
        </p:nvSpPr>
        <p:spPr bwMode="gray">
          <a:xfrm>
            <a:off x="1280533" y="3538990"/>
            <a:ext cx="23515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T DOEN ZE?</a:t>
            </a:r>
          </a:p>
        </p:txBody>
      </p:sp>
      <p:sp>
        <p:nvSpPr>
          <p:cNvPr id="35" name="TextBox 34"/>
          <p:cNvSpPr txBox="1"/>
          <p:nvPr/>
        </p:nvSpPr>
        <p:spPr bwMode="gray">
          <a:xfrm>
            <a:off x="1280533" y="5321995"/>
            <a:ext cx="39771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AROM LOPEN ZE OVER DE SPOREN?</a:t>
            </a:r>
          </a:p>
        </p:txBody>
      </p:sp>
      <p:sp>
        <p:nvSpPr>
          <p:cNvPr id="37" name="TextBox 36"/>
          <p:cNvSpPr txBox="1"/>
          <p:nvPr/>
        </p:nvSpPr>
        <p:spPr bwMode="gray">
          <a:xfrm>
            <a:off x="1280533" y="3902780"/>
            <a:ext cx="497203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5%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eft minstens 1 keer één van de gedragingen die </a:t>
            </a:r>
            <a:b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oorlopen definiëren gesteld in de afgelopen 6 maanden</a:t>
            </a:r>
          </a:p>
        </p:txBody>
      </p:sp>
      <p:sp>
        <p:nvSpPr>
          <p:cNvPr id="38" name="TextBox 37"/>
          <p:cNvSpPr txBox="1"/>
          <p:nvPr/>
        </p:nvSpPr>
        <p:spPr bwMode="gray">
          <a:xfrm>
            <a:off x="1280533" y="5654657"/>
            <a:ext cx="49720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Zijn ervan overtuigd dat ze de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ren kunnen inschatten</a:t>
            </a:r>
          </a:p>
        </p:txBody>
      </p:sp>
      <p:sp>
        <p:nvSpPr>
          <p:cNvPr id="12" name="Oval 11"/>
          <p:cNvSpPr/>
          <p:nvPr/>
        </p:nvSpPr>
        <p:spPr bwMode="gray">
          <a:xfrm>
            <a:off x="1895529" y="281583"/>
            <a:ext cx="1920000" cy="1920000"/>
          </a:xfrm>
          <a:prstGeom prst="ellipse">
            <a:avLst/>
          </a:prstGeom>
          <a:solidFill>
            <a:srgbClr val="F0AB0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4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endParaRPr lang="nl-BE" b="1" dirty="0" smtClean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nl-BE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Unconscious</a:t>
            </a: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trespassers</a:t>
            </a:r>
            <a: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8%</a:t>
            </a:r>
            <a:b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endParaRPr lang="nl-BE" sz="2400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 bwMode="gray">
          <a:xfrm>
            <a:off x="8770535" y="191732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ociale klasse</a:t>
            </a:r>
          </a:p>
        </p:txBody>
      </p:sp>
      <p:graphicFrame>
        <p:nvGraphicFramePr>
          <p:cNvPr id="61" name="Chart 60"/>
          <p:cNvGraphicFramePr/>
          <p:nvPr>
            <p:extLst/>
          </p:nvPr>
        </p:nvGraphicFramePr>
        <p:xfrm>
          <a:off x="8138065" y="2038178"/>
          <a:ext cx="2459138" cy="10974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4" name="Rectangle 63"/>
          <p:cNvSpPr/>
          <p:nvPr/>
        </p:nvSpPr>
        <p:spPr bwMode="gray">
          <a:xfrm>
            <a:off x="10871336" y="6533769"/>
            <a:ext cx="255182" cy="1914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5" name="Rectangle 64"/>
          <p:cNvSpPr/>
          <p:nvPr/>
        </p:nvSpPr>
        <p:spPr bwMode="gray">
          <a:xfrm>
            <a:off x="10588347" y="6535109"/>
            <a:ext cx="255182" cy="191449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0" name="Rounded Rectangle 39"/>
          <p:cNvSpPr/>
          <p:nvPr/>
        </p:nvSpPr>
        <p:spPr bwMode="gray">
          <a:xfrm>
            <a:off x="7757801" y="3382355"/>
            <a:ext cx="3187476" cy="225616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 bwMode="gray">
          <a:xfrm>
            <a:off x="7988247" y="3549022"/>
            <a:ext cx="2788941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lijk gedrag dat in de afgelopen </a:t>
            </a:r>
            <a:b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 het vaakst voorkwam</a:t>
            </a:r>
          </a:p>
        </p:txBody>
      </p:sp>
      <p:cxnSp>
        <p:nvCxnSpPr>
          <p:cNvPr id="42" name="Straight Connector 41"/>
          <p:cNvCxnSpPr/>
          <p:nvPr/>
        </p:nvCxnSpPr>
        <p:spPr>
          <a:xfrm flipV="1">
            <a:off x="8895862" y="3990816"/>
            <a:ext cx="90000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hevron 42"/>
          <p:cNvSpPr/>
          <p:nvPr/>
        </p:nvSpPr>
        <p:spPr bwMode="gray">
          <a:xfrm>
            <a:off x="6243130" y="3885990"/>
            <a:ext cx="1232050" cy="459548"/>
          </a:xfrm>
          <a:prstGeom prst="chevron">
            <a:avLst/>
          </a:prstGeom>
          <a:solidFill>
            <a:srgbClr val="F0A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4" name="TextBox 43"/>
          <p:cNvSpPr txBox="1"/>
          <p:nvPr/>
        </p:nvSpPr>
        <p:spPr bwMode="gray">
          <a:xfrm>
            <a:off x="9724809" y="4115516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3%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8645836" y="4060949"/>
            <a:ext cx="13500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en foto nemen naast de sporen</a:t>
            </a:r>
          </a:p>
        </p:txBody>
      </p:sp>
      <p:sp>
        <p:nvSpPr>
          <p:cNvPr id="46" name="TextBox 45"/>
          <p:cNvSpPr txBox="1"/>
          <p:nvPr/>
        </p:nvSpPr>
        <p:spPr bwMode="gray">
          <a:xfrm>
            <a:off x="9748450" y="4464843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9%</a:t>
            </a:r>
          </a:p>
        </p:txBody>
      </p:sp>
      <p:sp>
        <p:nvSpPr>
          <p:cNvPr id="47" name="Freeform 17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8097251" y="4770096"/>
            <a:ext cx="282524" cy="271600"/>
          </a:xfrm>
          <a:custGeom>
            <a:avLst/>
            <a:gdLst>
              <a:gd name="T0" fmla="*/ 1040 w 2080"/>
              <a:gd name="T1" fmla="*/ 2000 h 2000"/>
              <a:gd name="T2" fmla="*/ 480 w 2080"/>
              <a:gd name="T3" fmla="*/ 1825 h 2000"/>
              <a:gd name="T4" fmla="*/ 574 w 2080"/>
              <a:gd name="T5" fmla="*/ 1591 h 2000"/>
              <a:gd name="T6" fmla="*/ 809 w 2080"/>
              <a:gd name="T7" fmla="*/ 1485 h 2000"/>
              <a:gd name="T8" fmla="*/ 820 w 2080"/>
              <a:gd name="T9" fmla="*/ 1401 h 2000"/>
              <a:gd name="T10" fmla="*/ 756 w 2080"/>
              <a:gd name="T11" fmla="*/ 1232 h 2000"/>
              <a:gd name="T12" fmla="*/ 697 w 2080"/>
              <a:gd name="T13" fmla="*/ 1067 h 2000"/>
              <a:gd name="T14" fmla="*/ 698 w 2080"/>
              <a:gd name="T15" fmla="*/ 810 h 2000"/>
              <a:gd name="T16" fmla="*/ 1076 w 2080"/>
              <a:gd name="T17" fmla="*/ 622 h 2000"/>
              <a:gd name="T18" fmla="*/ 1382 w 2080"/>
              <a:gd name="T19" fmla="*/ 1067 h 2000"/>
              <a:gd name="T20" fmla="*/ 1323 w 2080"/>
              <a:gd name="T21" fmla="*/ 1233 h 2000"/>
              <a:gd name="T22" fmla="*/ 1260 w 2080"/>
              <a:gd name="T23" fmla="*/ 1406 h 2000"/>
              <a:gd name="T24" fmla="*/ 1269 w 2080"/>
              <a:gd name="T25" fmla="*/ 1484 h 2000"/>
              <a:gd name="T26" fmla="*/ 1505 w 2080"/>
              <a:gd name="T27" fmla="*/ 1591 h 2000"/>
              <a:gd name="T28" fmla="*/ 1600 w 2080"/>
              <a:gd name="T29" fmla="*/ 1825 h 2000"/>
              <a:gd name="T30" fmla="*/ 745 w 2080"/>
              <a:gd name="T31" fmla="*/ 334 h 2000"/>
              <a:gd name="T32" fmla="*/ 798 w 2080"/>
              <a:gd name="T33" fmla="*/ 130 h 2000"/>
              <a:gd name="T34" fmla="*/ 1281 w 2080"/>
              <a:gd name="T35" fmla="*/ 130 h 2000"/>
              <a:gd name="T36" fmla="*/ 1334 w 2080"/>
              <a:gd name="T37" fmla="*/ 339 h 2000"/>
              <a:gd name="T38" fmla="*/ 1188 w 2080"/>
              <a:gd name="T39" fmla="*/ 551 h 2000"/>
              <a:gd name="T40" fmla="*/ 1080 w 2080"/>
              <a:gd name="T41" fmla="*/ 542 h 2000"/>
              <a:gd name="T42" fmla="*/ 841 w 2080"/>
              <a:gd name="T43" fmla="*/ 428 h 2000"/>
              <a:gd name="T44" fmla="*/ 1264 w 2080"/>
              <a:gd name="T45" fmla="*/ 588 h 2000"/>
              <a:gd name="T46" fmla="*/ 1358 w 2080"/>
              <a:gd name="T47" fmla="*/ 418 h 2000"/>
              <a:gd name="T48" fmla="*/ 1574 w 2080"/>
              <a:gd name="T49" fmla="*/ 369 h 2000"/>
              <a:gd name="T50" fmla="*/ 1647 w 2080"/>
              <a:gd name="T51" fmla="*/ 395 h 2000"/>
              <a:gd name="T52" fmla="*/ 1809 w 2080"/>
              <a:gd name="T53" fmla="*/ 429 h 2000"/>
              <a:gd name="T54" fmla="*/ 1896 w 2080"/>
              <a:gd name="T55" fmla="*/ 606 h 2000"/>
              <a:gd name="T56" fmla="*/ 1835 w 2080"/>
              <a:gd name="T57" fmla="*/ 893 h 2000"/>
              <a:gd name="T58" fmla="*/ 1758 w 2080"/>
              <a:gd name="T59" fmla="*/ 1046 h 2000"/>
              <a:gd name="T60" fmla="*/ 1784 w 2080"/>
              <a:gd name="T61" fmla="*/ 1135 h 2000"/>
              <a:gd name="T62" fmla="*/ 1852 w 2080"/>
              <a:gd name="T63" fmla="*/ 1163 h 2000"/>
              <a:gd name="T64" fmla="*/ 2057 w 2080"/>
              <a:gd name="T65" fmla="*/ 1325 h 2000"/>
              <a:gd name="T66" fmla="*/ 1928 w 2080"/>
              <a:gd name="T67" fmla="*/ 1563 h 2000"/>
              <a:gd name="T68" fmla="*/ 1561 w 2080"/>
              <a:gd name="T69" fmla="*/ 1533 h 2000"/>
              <a:gd name="T70" fmla="*/ 1326 w 2080"/>
              <a:gd name="T71" fmla="*/ 1425 h 2000"/>
              <a:gd name="T72" fmla="*/ 1464 w 2080"/>
              <a:gd name="T73" fmla="*/ 1069 h 2000"/>
              <a:gd name="T74" fmla="*/ 1264 w 2080"/>
              <a:gd name="T75" fmla="*/ 588 h 2000"/>
              <a:gd name="T76" fmla="*/ 500 w 2080"/>
              <a:gd name="T77" fmla="*/ 389 h 2000"/>
              <a:gd name="T78" fmla="*/ 774 w 2080"/>
              <a:gd name="T79" fmla="*/ 472 h 2000"/>
              <a:gd name="T80" fmla="*/ 623 w 2080"/>
              <a:gd name="T81" fmla="*/ 782 h 2000"/>
              <a:gd name="T82" fmla="*/ 616 w 2080"/>
              <a:gd name="T83" fmla="*/ 1070 h 2000"/>
              <a:gd name="T84" fmla="*/ 753 w 2080"/>
              <a:gd name="T85" fmla="*/ 1425 h 2000"/>
              <a:gd name="T86" fmla="*/ 518 w 2080"/>
              <a:gd name="T87" fmla="*/ 1533 h 2000"/>
              <a:gd name="T88" fmla="*/ 152 w 2080"/>
              <a:gd name="T89" fmla="*/ 1563 h 2000"/>
              <a:gd name="T90" fmla="*/ 22 w 2080"/>
              <a:gd name="T91" fmla="*/ 1325 h 2000"/>
              <a:gd name="T92" fmla="*/ 227 w 2080"/>
              <a:gd name="T93" fmla="*/ 1163 h 2000"/>
              <a:gd name="T94" fmla="*/ 122 w 2080"/>
              <a:gd name="T95" fmla="*/ 1053 h 2000"/>
              <a:gd name="T96" fmla="*/ 123 w 2080"/>
              <a:gd name="T97" fmla="*/ 1007 h 2000"/>
              <a:gd name="T98" fmla="*/ 184 w 2080"/>
              <a:gd name="T99" fmla="*/ 621 h 2000"/>
              <a:gd name="T100" fmla="*/ 433 w 2080"/>
              <a:gd name="T101" fmla="*/ 372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80" h="2000">
                <a:moveTo>
                  <a:pt x="1432" y="1959"/>
                </a:moveTo>
                <a:cubicBezTo>
                  <a:pt x="1310" y="1990"/>
                  <a:pt x="1140" y="2000"/>
                  <a:pt x="1040" y="2000"/>
                </a:cubicBezTo>
                <a:cubicBezTo>
                  <a:pt x="940" y="2000"/>
                  <a:pt x="770" y="1990"/>
                  <a:pt x="648" y="1959"/>
                </a:cubicBezTo>
                <a:cubicBezTo>
                  <a:pt x="550" y="1933"/>
                  <a:pt x="480" y="1891"/>
                  <a:pt x="480" y="1825"/>
                </a:cubicBezTo>
                <a:cubicBezTo>
                  <a:pt x="480" y="1783"/>
                  <a:pt x="488" y="1738"/>
                  <a:pt x="505" y="1696"/>
                </a:cubicBezTo>
                <a:cubicBezTo>
                  <a:pt x="520" y="1657"/>
                  <a:pt x="544" y="1620"/>
                  <a:pt x="574" y="1591"/>
                </a:cubicBezTo>
                <a:cubicBezTo>
                  <a:pt x="610" y="1556"/>
                  <a:pt x="683" y="1532"/>
                  <a:pt x="733" y="1517"/>
                </a:cubicBezTo>
                <a:cubicBezTo>
                  <a:pt x="759" y="1509"/>
                  <a:pt x="782" y="1502"/>
                  <a:pt x="809" y="1485"/>
                </a:cubicBezTo>
                <a:cubicBezTo>
                  <a:pt x="810" y="1485"/>
                  <a:pt x="811" y="1484"/>
                  <a:pt x="812" y="1483"/>
                </a:cubicBezTo>
                <a:cubicBezTo>
                  <a:pt x="826" y="1476"/>
                  <a:pt x="822" y="1435"/>
                  <a:pt x="820" y="1401"/>
                </a:cubicBezTo>
                <a:cubicBezTo>
                  <a:pt x="819" y="1393"/>
                  <a:pt x="818" y="1385"/>
                  <a:pt x="818" y="1378"/>
                </a:cubicBezTo>
                <a:cubicBezTo>
                  <a:pt x="783" y="1336"/>
                  <a:pt x="769" y="1283"/>
                  <a:pt x="756" y="1232"/>
                </a:cubicBezTo>
                <a:cubicBezTo>
                  <a:pt x="755" y="1229"/>
                  <a:pt x="755" y="1229"/>
                  <a:pt x="755" y="1229"/>
                </a:cubicBezTo>
                <a:cubicBezTo>
                  <a:pt x="704" y="1194"/>
                  <a:pt x="684" y="1126"/>
                  <a:pt x="697" y="1067"/>
                </a:cubicBezTo>
                <a:cubicBezTo>
                  <a:pt x="692" y="1047"/>
                  <a:pt x="688" y="1025"/>
                  <a:pt x="685" y="1005"/>
                </a:cubicBezTo>
                <a:cubicBezTo>
                  <a:pt x="675" y="937"/>
                  <a:pt x="676" y="868"/>
                  <a:pt x="698" y="810"/>
                </a:cubicBezTo>
                <a:cubicBezTo>
                  <a:pt x="727" y="733"/>
                  <a:pt x="786" y="689"/>
                  <a:pt x="865" y="675"/>
                </a:cubicBezTo>
                <a:cubicBezTo>
                  <a:pt x="914" y="634"/>
                  <a:pt x="995" y="617"/>
                  <a:pt x="1076" y="622"/>
                </a:cubicBezTo>
                <a:cubicBezTo>
                  <a:pt x="1231" y="631"/>
                  <a:pt x="1356" y="713"/>
                  <a:pt x="1389" y="869"/>
                </a:cubicBezTo>
                <a:cubicBezTo>
                  <a:pt x="1402" y="926"/>
                  <a:pt x="1400" y="991"/>
                  <a:pt x="1382" y="1067"/>
                </a:cubicBezTo>
                <a:cubicBezTo>
                  <a:pt x="1395" y="1127"/>
                  <a:pt x="1376" y="1194"/>
                  <a:pt x="1324" y="1229"/>
                </a:cubicBezTo>
                <a:cubicBezTo>
                  <a:pt x="1323" y="1233"/>
                  <a:pt x="1323" y="1233"/>
                  <a:pt x="1323" y="1233"/>
                </a:cubicBezTo>
                <a:cubicBezTo>
                  <a:pt x="1310" y="1283"/>
                  <a:pt x="1297" y="1336"/>
                  <a:pt x="1261" y="1378"/>
                </a:cubicBezTo>
                <a:cubicBezTo>
                  <a:pt x="1261" y="1387"/>
                  <a:pt x="1260" y="1397"/>
                  <a:pt x="1260" y="1406"/>
                </a:cubicBezTo>
                <a:cubicBezTo>
                  <a:pt x="1257" y="1438"/>
                  <a:pt x="1254" y="1475"/>
                  <a:pt x="1266" y="1483"/>
                </a:cubicBezTo>
                <a:cubicBezTo>
                  <a:pt x="1267" y="1483"/>
                  <a:pt x="1268" y="1484"/>
                  <a:pt x="1269" y="1484"/>
                </a:cubicBezTo>
                <a:cubicBezTo>
                  <a:pt x="1297" y="1502"/>
                  <a:pt x="1320" y="1509"/>
                  <a:pt x="1346" y="1517"/>
                </a:cubicBezTo>
                <a:cubicBezTo>
                  <a:pt x="1397" y="1532"/>
                  <a:pt x="1470" y="1556"/>
                  <a:pt x="1505" y="1591"/>
                </a:cubicBezTo>
                <a:cubicBezTo>
                  <a:pt x="1536" y="1620"/>
                  <a:pt x="1559" y="1657"/>
                  <a:pt x="1574" y="1696"/>
                </a:cubicBezTo>
                <a:cubicBezTo>
                  <a:pt x="1591" y="1738"/>
                  <a:pt x="1600" y="1783"/>
                  <a:pt x="1600" y="1825"/>
                </a:cubicBezTo>
                <a:cubicBezTo>
                  <a:pt x="1600" y="1891"/>
                  <a:pt x="1529" y="1933"/>
                  <a:pt x="1432" y="1959"/>
                </a:cubicBezTo>
                <a:close/>
                <a:moveTo>
                  <a:pt x="745" y="334"/>
                </a:moveTo>
                <a:cubicBezTo>
                  <a:pt x="745" y="328"/>
                  <a:pt x="745" y="321"/>
                  <a:pt x="745" y="315"/>
                </a:cubicBezTo>
                <a:cubicBezTo>
                  <a:pt x="745" y="256"/>
                  <a:pt x="762" y="188"/>
                  <a:pt x="798" y="130"/>
                </a:cubicBezTo>
                <a:cubicBezTo>
                  <a:pt x="854" y="44"/>
                  <a:pt x="939" y="0"/>
                  <a:pt x="1040" y="0"/>
                </a:cubicBezTo>
                <a:cubicBezTo>
                  <a:pt x="1140" y="0"/>
                  <a:pt x="1226" y="44"/>
                  <a:pt x="1281" y="130"/>
                </a:cubicBezTo>
                <a:cubicBezTo>
                  <a:pt x="1318" y="188"/>
                  <a:pt x="1334" y="256"/>
                  <a:pt x="1334" y="315"/>
                </a:cubicBezTo>
                <a:cubicBezTo>
                  <a:pt x="1334" y="323"/>
                  <a:pt x="1334" y="331"/>
                  <a:pt x="1334" y="339"/>
                </a:cubicBezTo>
                <a:cubicBezTo>
                  <a:pt x="1326" y="343"/>
                  <a:pt x="1318" y="348"/>
                  <a:pt x="1312" y="353"/>
                </a:cubicBezTo>
                <a:cubicBezTo>
                  <a:pt x="1248" y="399"/>
                  <a:pt x="1202" y="467"/>
                  <a:pt x="1188" y="551"/>
                </a:cubicBezTo>
                <a:cubicBezTo>
                  <a:pt x="1187" y="554"/>
                  <a:pt x="1187" y="557"/>
                  <a:pt x="1186" y="560"/>
                </a:cubicBezTo>
                <a:cubicBezTo>
                  <a:pt x="1152" y="550"/>
                  <a:pt x="1116" y="544"/>
                  <a:pt x="1080" y="542"/>
                </a:cubicBezTo>
                <a:cubicBezTo>
                  <a:pt x="1016" y="538"/>
                  <a:pt x="950" y="547"/>
                  <a:pt x="894" y="568"/>
                </a:cubicBezTo>
                <a:cubicBezTo>
                  <a:pt x="888" y="518"/>
                  <a:pt x="869" y="469"/>
                  <a:pt x="841" y="428"/>
                </a:cubicBezTo>
                <a:cubicBezTo>
                  <a:pt x="816" y="391"/>
                  <a:pt x="783" y="358"/>
                  <a:pt x="745" y="334"/>
                </a:cubicBezTo>
                <a:close/>
                <a:moveTo>
                  <a:pt x="1264" y="588"/>
                </a:moveTo>
                <a:cubicBezTo>
                  <a:pt x="1264" y="580"/>
                  <a:pt x="1265" y="572"/>
                  <a:pt x="1266" y="564"/>
                </a:cubicBezTo>
                <a:cubicBezTo>
                  <a:pt x="1277" y="502"/>
                  <a:pt x="1311" y="452"/>
                  <a:pt x="1358" y="418"/>
                </a:cubicBezTo>
                <a:cubicBezTo>
                  <a:pt x="1404" y="385"/>
                  <a:pt x="1462" y="367"/>
                  <a:pt x="1521" y="366"/>
                </a:cubicBezTo>
                <a:cubicBezTo>
                  <a:pt x="1539" y="365"/>
                  <a:pt x="1557" y="367"/>
                  <a:pt x="1574" y="369"/>
                </a:cubicBezTo>
                <a:cubicBezTo>
                  <a:pt x="1594" y="373"/>
                  <a:pt x="1610" y="377"/>
                  <a:pt x="1624" y="383"/>
                </a:cubicBezTo>
                <a:cubicBezTo>
                  <a:pt x="1632" y="387"/>
                  <a:pt x="1639" y="391"/>
                  <a:pt x="1647" y="395"/>
                </a:cubicBezTo>
                <a:cubicBezTo>
                  <a:pt x="1668" y="389"/>
                  <a:pt x="1688" y="387"/>
                  <a:pt x="1709" y="389"/>
                </a:cubicBezTo>
                <a:cubicBezTo>
                  <a:pt x="1745" y="392"/>
                  <a:pt x="1780" y="407"/>
                  <a:pt x="1809" y="429"/>
                </a:cubicBezTo>
                <a:cubicBezTo>
                  <a:pt x="1837" y="451"/>
                  <a:pt x="1861" y="480"/>
                  <a:pt x="1876" y="512"/>
                </a:cubicBezTo>
                <a:cubicBezTo>
                  <a:pt x="1891" y="541"/>
                  <a:pt x="1898" y="574"/>
                  <a:pt x="1896" y="606"/>
                </a:cubicBezTo>
                <a:cubicBezTo>
                  <a:pt x="1887" y="744"/>
                  <a:pt x="1887" y="744"/>
                  <a:pt x="1887" y="744"/>
                </a:cubicBezTo>
                <a:cubicBezTo>
                  <a:pt x="1900" y="798"/>
                  <a:pt x="1882" y="861"/>
                  <a:pt x="1835" y="893"/>
                </a:cubicBezTo>
                <a:cubicBezTo>
                  <a:pt x="1827" y="920"/>
                  <a:pt x="1814" y="952"/>
                  <a:pt x="1799" y="982"/>
                </a:cubicBezTo>
                <a:cubicBezTo>
                  <a:pt x="1787" y="1005"/>
                  <a:pt x="1773" y="1028"/>
                  <a:pt x="1758" y="1046"/>
                </a:cubicBezTo>
                <a:cubicBezTo>
                  <a:pt x="1759" y="1063"/>
                  <a:pt x="1760" y="1081"/>
                  <a:pt x="1764" y="1099"/>
                </a:cubicBezTo>
                <a:cubicBezTo>
                  <a:pt x="1768" y="1115"/>
                  <a:pt x="1774" y="1129"/>
                  <a:pt x="1784" y="1135"/>
                </a:cubicBezTo>
                <a:cubicBezTo>
                  <a:pt x="1785" y="1135"/>
                  <a:pt x="1785" y="1135"/>
                  <a:pt x="1785" y="1135"/>
                </a:cubicBezTo>
                <a:cubicBezTo>
                  <a:pt x="1809" y="1151"/>
                  <a:pt x="1829" y="1157"/>
                  <a:pt x="1852" y="1163"/>
                </a:cubicBezTo>
                <a:cubicBezTo>
                  <a:pt x="1898" y="1177"/>
                  <a:pt x="1962" y="1199"/>
                  <a:pt x="1995" y="1230"/>
                </a:cubicBezTo>
                <a:cubicBezTo>
                  <a:pt x="2022" y="1256"/>
                  <a:pt x="2043" y="1289"/>
                  <a:pt x="2057" y="1325"/>
                </a:cubicBezTo>
                <a:cubicBezTo>
                  <a:pt x="2072" y="1363"/>
                  <a:pt x="2080" y="1403"/>
                  <a:pt x="2080" y="1441"/>
                </a:cubicBezTo>
                <a:cubicBezTo>
                  <a:pt x="2080" y="1502"/>
                  <a:pt x="2016" y="1540"/>
                  <a:pt x="1928" y="1563"/>
                </a:cubicBezTo>
                <a:cubicBezTo>
                  <a:pt x="1832" y="1588"/>
                  <a:pt x="1704" y="1598"/>
                  <a:pt x="1614" y="1600"/>
                </a:cubicBezTo>
                <a:cubicBezTo>
                  <a:pt x="1599" y="1576"/>
                  <a:pt x="1581" y="1553"/>
                  <a:pt x="1561" y="1533"/>
                </a:cubicBezTo>
                <a:cubicBezTo>
                  <a:pt x="1513" y="1487"/>
                  <a:pt x="1434" y="1460"/>
                  <a:pt x="1369" y="1440"/>
                </a:cubicBezTo>
                <a:cubicBezTo>
                  <a:pt x="1354" y="1435"/>
                  <a:pt x="1340" y="1431"/>
                  <a:pt x="1326" y="1425"/>
                </a:cubicBezTo>
                <a:cubicBezTo>
                  <a:pt x="1363" y="1379"/>
                  <a:pt x="1379" y="1335"/>
                  <a:pt x="1395" y="1274"/>
                </a:cubicBezTo>
                <a:cubicBezTo>
                  <a:pt x="1450" y="1222"/>
                  <a:pt x="1474" y="1144"/>
                  <a:pt x="1464" y="1069"/>
                </a:cubicBezTo>
                <a:cubicBezTo>
                  <a:pt x="1481" y="988"/>
                  <a:pt x="1482" y="916"/>
                  <a:pt x="1468" y="851"/>
                </a:cubicBezTo>
                <a:cubicBezTo>
                  <a:pt x="1442" y="736"/>
                  <a:pt x="1370" y="639"/>
                  <a:pt x="1264" y="588"/>
                </a:cubicBezTo>
                <a:close/>
                <a:moveTo>
                  <a:pt x="433" y="372"/>
                </a:moveTo>
                <a:cubicBezTo>
                  <a:pt x="455" y="374"/>
                  <a:pt x="478" y="380"/>
                  <a:pt x="500" y="389"/>
                </a:cubicBezTo>
                <a:cubicBezTo>
                  <a:pt x="522" y="380"/>
                  <a:pt x="544" y="374"/>
                  <a:pt x="566" y="372"/>
                </a:cubicBezTo>
                <a:cubicBezTo>
                  <a:pt x="652" y="363"/>
                  <a:pt x="726" y="401"/>
                  <a:pt x="774" y="472"/>
                </a:cubicBezTo>
                <a:cubicBezTo>
                  <a:pt x="801" y="511"/>
                  <a:pt x="816" y="558"/>
                  <a:pt x="816" y="605"/>
                </a:cubicBezTo>
                <a:cubicBezTo>
                  <a:pt x="714" y="634"/>
                  <a:pt x="655" y="699"/>
                  <a:pt x="623" y="782"/>
                </a:cubicBezTo>
                <a:cubicBezTo>
                  <a:pt x="596" y="854"/>
                  <a:pt x="594" y="937"/>
                  <a:pt x="606" y="1016"/>
                </a:cubicBezTo>
                <a:cubicBezTo>
                  <a:pt x="608" y="1034"/>
                  <a:pt x="612" y="1052"/>
                  <a:pt x="616" y="1070"/>
                </a:cubicBezTo>
                <a:cubicBezTo>
                  <a:pt x="606" y="1144"/>
                  <a:pt x="629" y="1222"/>
                  <a:pt x="684" y="1274"/>
                </a:cubicBezTo>
                <a:cubicBezTo>
                  <a:pt x="698" y="1325"/>
                  <a:pt x="715" y="1378"/>
                  <a:pt x="753" y="1425"/>
                </a:cubicBezTo>
                <a:cubicBezTo>
                  <a:pt x="739" y="1431"/>
                  <a:pt x="726" y="1435"/>
                  <a:pt x="710" y="1440"/>
                </a:cubicBezTo>
                <a:cubicBezTo>
                  <a:pt x="645" y="1460"/>
                  <a:pt x="566" y="1487"/>
                  <a:pt x="518" y="1533"/>
                </a:cubicBezTo>
                <a:cubicBezTo>
                  <a:pt x="498" y="1553"/>
                  <a:pt x="480" y="1575"/>
                  <a:pt x="465" y="1599"/>
                </a:cubicBezTo>
                <a:cubicBezTo>
                  <a:pt x="375" y="1597"/>
                  <a:pt x="247" y="1588"/>
                  <a:pt x="152" y="1563"/>
                </a:cubicBezTo>
                <a:cubicBezTo>
                  <a:pt x="64" y="1540"/>
                  <a:pt x="0" y="1502"/>
                  <a:pt x="0" y="1440"/>
                </a:cubicBezTo>
                <a:cubicBezTo>
                  <a:pt x="0" y="1402"/>
                  <a:pt x="7" y="1362"/>
                  <a:pt x="22" y="1325"/>
                </a:cubicBezTo>
                <a:cubicBezTo>
                  <a:pt x="36" y="1289"/>
                  <a:pt x="57" y="1256"/>
                  <a:pt x="84" y="1230"/>
                </a:cubicBezTo>
                <a:cubicBezTo>
                  <a:pt x="116" y="1199"/>
                  <a:pt x="182" y="1177"/>
                  <a:pt x="227" y="1163"/>
                </a:cubicBezTo>
                <a:cubicBezTo>
                  <a:pt x="249" y="1157"/>
                  <a:pt x="267" y="1151"/>
                  <a:pt x="290" y="1138"/>
                </a:cubicBezTo>
                <a:cubicBezTo>
                  <a:pt x="228" y="1133"/>
                  <a:pt x="163" y="1115"/>
                  <a:pt x="122" y="1053"/>
                </a:cubicBezTo>
                <a:cubicBezTo>
                  <a:pt x="106" y="1030"/>
                  <a:pt x="106" y="1030"/>
                  <a:pt x="106" y="1030"/>
                </a:cubicBezTo>
                <a:cubicBezTo>
                  <a:pt x="123" y="1007"/>
                  <a:pt x="123" y="1007"/>
                  <a:pt x="123" y="1007"/>
                </a:cubicBezTo>
                <a:cubicBezTo>
                  <a:pt x="146" y="977"/>
                  <a:pt x="161" y="922"/>
                  <a:pt x="171" y="862"/>
                </a:cubicBezTo>
                <a:cubicBezTo>
                  <a:pt x="187" y="766"/>
                  <a:pt x="188" y="662"/>
                  <a:pt x="184" y="621"/>
                </a:cubicBezTo>
                <a:cubicBezTo>
                  <a:pt x="179" y="569"/>
                  <a:pt x="195" y="516"/>
                  <a:pt x="225" y="472"/>
                </a:cubicBezTo>
                <a:cubicBezTo>
                  <a:pt x="272" y="401"/>
                  <a:pt x="347" y="363"/>
                  <a:pt x="433" y="37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 bwMode="gray">
          <a:xfrm>
            <a:off x="8509777" y="4755420"/>
            <a:ext cx="16391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fspreken met vrienden naast de sporen</a:t>
            </a:r>
          </a:p>
        </p:txBody>
      </p:sp>
      <p:sp>
        <p:nvSpPr>
          <p:cNvPr id="68" name="TextBox 67"/>
          <p:cNvSpPr txBox="1"/>
          <p:nvPr/>
        </p:nvSpPr>
        <p:spPr bwMode="gray">
          <a:xfrm>
            <a:off x="9762125" y="4869740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8%</a:t>
            </a:r>
          </a:p>
        </p:txBody>
      </p:sp>
      <p:sp>
        <p:nvSpPr>
          <p:cNvPr id="69" name="Freeform 26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115537" y="4047425"/>
            <a:ext cx="277393" cy="224048"/>
          </a:xfrm>
          <a:custGeom>
            <a:avLst/>
            <a:gdLst>
              <a:gd name="T0" fmla="*/ 560 w 2080"/>
              <a:gd name="T1" fmla="*/ 240 h 1680"/>
              <a:gd name="T2" fmla="*/ 640 w 2080"/>
              <a:gd name="T3" fmla="*/ 160 h 1680"/>
              <a:gd name="T4" fmla="*/ 800 w 2080"/>
              <a:gd name="T5" fmla="*/ 0 h 1680"/>
              <a:gd name="T6" fmla="*/ 1280 w 2080"/>
              <a:gd name="T7" fmla="*/ 0 h 1680"/>
              <a:gd name="T8" fmla="*/ 1440 w 2080"/>
              <a:gd name="T9" fmla="*/ 160 h 1680"/>
              <a:gd name="T10" fmla="*/ 1520 w 2080"/>
              <a:gd name="T11" fmla="*/ 240 h 1680"/>
              <a:gd name="T12" fmla="*/ 1920 w 2080"/>
              <a:gd name="T13" fmla="*/ 240 h 1680"/>
              <a:gd name="T14" fmla="*/ 2080 w 2080"/>
              <a:gd name="T15" fmla="*/ 400 h 1680"/>
              <a:gd name="T16" fmla="*/ 2080 w 2080"/>
              <a:gd name="T17" fmla="*/ 1520 h 1680"/>
              <a:gd name="T18" fmla="*/ 1920 w 2080"/>
              <a:gd name="T19" fmla="*/ 1680 h 1680"/>
              <a:gd name="T20" fmla="*/ 160 w 2080"/>
              <a:gd name="T21" fmla="*/ 1680 h 1680"/>
              <a:gd name="T22" fmla="*/ 0 w 2080"/>
              <a:gd name="T23" fmla="*/ 1520 h 1680"/>
              <a:gd name="T24" fmla="*/ 0 w 2080"/>
              <a:gd name="T25" fmla="*/ 400 h 1680"/>
              <a:gd name="T26" fmla="*/ 160 w 2080"/>
              <a:gd name="T27" fmla="*/ 240 h 1680"/>
              <a:gd name="T28" fmla="*/ 560 w 2080"/>
              <a:gd name="T29" fmla="*/ 240 h 1680"/>
              <a:gd name="T30" fmla="*/ 1400 w 2080"/>
              <a:gd name="T31" fmla="*/ 920 h 1680"/>
              <a:gd name="T32" fmla="*/ 1320 w 2080"/>
              <a:gd name="T33" fmla="*/ 920 h 1680"/>
              <a:gd name="T34" fmla="*/ 1040 w 2080"/>
              <a:gd name="T35" fmla="*/ 1200 h 1680"/>
              <a:gd name="T36" fmla="*/ 1040 w 2080"/>
              <a:gd name="T37" fmla="*/ 1280 h 1680"/>
              <a:gd name="T38" fmla="*/ 1400 w 2080"/>
              <a:gd name="T39" fmla="*/ 920 h 1680"/>
              <a:gd name="T40" fmla="*/ 800 w 2080"/>
              <a:gd name="T41" fmla="*/ 160 h 1680"/>
              <a:gd name="T42" fmla="*/ 800 w 2080"/>
              <a:gd name="T43" fmla="*/ 240 h 1680"/>
              <a:gd name="T44" fmla="*/ 1280 w 2080"/>
              <a:gd name="T45" fmla="*/ 240 h 1680"/>
              <a:gd name="T46" fmla="*/ 1280 w 2080"/>
              <a:gd name="T47" fmla="*/ 160 h 1680"/>
              <a:gd name="T48" fmla="*/ 800 w 2080"/>
              <a:gd name="T49" fmla="*/ 160 h 1680"/>
              <a:gd name="T50" fmla="*/ 1760 w 2080"/>
              <a:gd name="T51" fmla="*/ 440 h 1680"/>
              <a:gd name="T52" fmla="*/ 1640 w 2080"/>
              <a:gd name="T53" fmla="*/ 560 h 1680"/>
              <a:gd name="T54" fmla="*/ 1760 w 2080"/>
              <a:gd name="T55" fmla="*/ 680 h 1680"/>
              <a:gd name="T56" fmla="*/ 1880 w 2080"/>
              <a:gd name="T57" fmla="*/ 560 h 1680"/>
              <a:gd name="T58" fmla="*/ 1760 w 2080"/>
              <a:gd name="T59" fmla="*/ 440 h 1680"/>
              <a:gd name="T60" fmla="*/ 1040 w 2080"/>
              <a:gd name="T61" fmla="*/ 400 h 1680"/>
              <a:gd name="T62" fmla="*/ 520 w 2080"/>
              <a:gd name="T63" fmla="*/ 920 h 1680"/>
              <a:gd name="T64" fmla="*/ 1040 w 2080"/>
              <a:gd name="T65" fmla="*/ 1440 h 1680"/>
              <a:gd name="T66" fmla="*/ 1560 w 2080"/>
              <a:gd name="T67" fmla="*/ 920 h 1680"/>
              <a:gd name="T68" fmla="*/ 1040 w 2080"/>
              <a:gd name="T69" fmla="*/ 400 h 1680"/>
              <a:gd name="T70" fmla="*/ 1040 w 2080"/>
              <a:gd name="T71" fmla="*/ 480 h 1680"/>
              <a:gd name="T72" fmla="*/ 1480 w 2080"/>
              <a:gd name="T73" fmla="*/ 920 h 1680"/>
              <a:gd name="T74" fmla="*/ 1040 w 2080"/>
              <a:gd name="T75" fmla="*/ 1360 h 1680"/>
              <a:gd name="T76" fmla="*/ 600 w 2080"/>
              <a:gd name="T77" fmla="*/ 920 h 1680"/>
              <a:gd name="T78" fmla="*/ 1040 w 2080"/>
              <a:gd name="T79" fmla="*/ 480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80" h="1680">
                <a:moveTo>
                  <a:pt x="560" y="240"/>
                </a:moveTo>
                <a:cubicBezTo>
                  <a:pt x="604" y="240"/>
                  <a:pt x="640" y="204"/>
                  <a:pt x="640" y="160"/>
                </a:cubicBezTo>
                <a:cubicBezTo>
                  <a:pt x="640" y="72"/>
                  <a:pt x="712" y="0"/>
                  <a:pt x="800" y="0"/>
                </a:cubicBezTo>
                <a:cubicBezTo>
                  <a:pt x="1280" y="0"/>
                  <a:pt x="1280" y="0"/>
                  <a:pt x="1280" y="0"/>
                </a:cubicBezTo>
                <a:cubicBezTo>
                  <a:pt x="1368" y="0"/>
                  <a:pt x="1440" y="72"/>
                  <a:pt x="1440" y="160"/>
                </a:cubicBezTo>
                <a:cubicBezTo>
                  <a:pt x="1440" y="204"/>
                  <a:pt x="1476" y="240"/>
                  <a:pt x="1520" y="240"/>
                </a:cubicBezTo>
                <a:cubicBezTo>
                  <a:pt x="1920" y="240"/>
                  <a:pt x="1920" y="240"/>
                  <a:pt x="1920" y="240"/>
                </a:cubicBezTo>
                <a:cubicBezTo>
                  <a:pt x="2008" y="240"/>
                  <a:pt x="2080" y="312"/>
                  <a:pt x="2080" y="400"/>
                </a:cubicBezTo>
                <a:cubicBezTo>
                  <a:pt x="2080" y="1520"/>
                  <a:pt x="2080" y="1520"/>
                  <a:pt x="2080" y="1520"/>
                </a:cubicBezTo>
                <a:cubicBezTo>
                  <a:pt x="2080" y="1608"/>
                  <a:pt x="2008" y="1680"/>
                  <a:pt x="1920" y="1680"/>
                </a:cubicBezTo>
                <a:cubicBezTo>
                  <a:pt x="160" y="1680"/>
                  <a:pt x="160" y="1680"/>
                  <a:pt x="160" y="1680"/>
                </a:cubicBezTo>
                <a:cubicBezTo>
                  <a:pt x="72" y="1680"/>
                  <a:pt x="0" y="1608"/>
                  <a:pt x="0" y="1520"/>
                </a:cubicBezTo>
                <a:cubicBezTo>
                  <a:pt x="0" y="400"/>
                  <a:pt x="0" y="400"/>
                  <a:pt x="0" y="400"/>
                </a:cubicBezTo>
                <a:cubicBezTo>
                  <a:pt x="0" y="312"/>
                  <a:pt x="72" y="240"/>
                  <a:pt x="160" y="240"/>
                </a:cubicBezTo>
                <a:lnTo>
                  <a:pt x="560" y="240"/>
                </a:lnTo>
                <a:close/>
                <a:moveTo>
                  <a:pt x="1400" y="920"/>
                </a:moveTo>
                <a:cubicBezTo>
                  <a:pt x="1320" y="920"/>
                  <a:pt x="1320" y="920"/>
                  <a:pt x="1320" y="920"/>
                </a:cubicBezTo>
                <a:cubicBezTo>
                  <a:pt x="1320" y="1075"/>
                  <a:pt x="1195" y="1200"/>
                  <a:pt x="1040" y="1200"/>
                </a:cubicBezTo>
                <a:cubicBezTo>
                  <a:pt x="1040" y="1280"/>
                  <a:pt x="1040" y="1280"/>
                  <a:pt x="1040" y="1280"/>
                </a:cubicBezTo>
                <a:cubicBezTo>
                  <a:pt x="1239" y="1280"/>
                  <a:pt x="1400" y="1119"/>
                  <a:pt x="1400" y="920"/>
                </a:cubicBezTo>
                <a:close/>
                <a:moveTo>
                  <a:pt x="800" y="160"/>
                </a:moveTo>
                <a:cubicBezTo>
                  <a:pt x="800" y="240"/>
                  <a:pt x="800" y="240"/>
                  <a:pt x="800" y="240"/>
                </a:cubicBezTo>
                <a:cubicBezTo>
                  <a:pt x="1280" y="240"/>
                  <a:pt x="1280" y="240"/>
                  <a:pt x="1280" y="240"/>
                </a:cubicBezTo>
                <a:cubicBezTo>
                  <a:pt x="1280" y="160"/>
                  <a:pt x="1280" y="160"/>
                  <a:pt x="1280" y="160"/>
                </a:cubicBezTo>
                <a:lnTo>
                  <a:pt x="800" y="160"/>
                </a:lnTo>
                <a:close/>
                <a:moveTo>
                  <a:pt x="1760" y="440"/>
                </a:moveTo>
                <a:cubicBezTo>
                  <a:pt x="1694" y="440"/>
                  <a:pt x="1640" y="494"/>
                  <a:pt x="1640" y="560"/>
                </a:cubicBezTo>
                <a:cubicBezTo>
                  <a:pt x="1640" y="626"/>
                  <a:pt x="1694" y="680"/>
                  <a:pt x="1760" y="680"/>
                </a:cubicBezTo>
                <a:cubicBezTo>
                  <a:pt x="1826" y="680"/>
                  <a:pt x="1880" y="626"/>
                  <a:pt x="1880" y="560"/>
                </a:cubicBezTo>
                <a:cubicBezTo>
                  <a:pt x="1880" y="494"/>
                  <a:pt x="1826" y="440"/>
                  <a:pt x="1760" y="440"/>
                </a:cubicBezTo>
                <a:close/>
                <a:moveTo>
                  <a:pt x="1040" y="400"/>
                </a:moveTo>
                <a:cubicBezTo>
                  <a:pt x="753" y="400"/>
                  <a:pt x="520" y="633"/>
                  <a:pt x="520" y="920"/>
                </a:cubicBezTo>
                <a:cubicBezTo>
                  <a:pt x="520" y="1207"/>
                  <a:pt x="753" y="1440"/>
                  <a:pt x="1040" y="1440"/>
                </a:cubicBezTo>
                <a:cubicBezTo>
                  <a:pt x="1327" y="1440"/>
                  <a:pt x="1560" y="1207"/>
                  <a:pt x="1560" y="920"/>
                </a:cubicBezTo>
                <a:cubicBezTo>
                  <a:pt x="1560" y="633"/>
                  <a:pt x="1327" y="400"/>
                  <a:pt x="1040" y="400"/>
                </a:cubicBezTo>
                <a:close/>
                <a:moveTo>
                  <a:pt x="1040" y="480"/>
                </a:moveTo>
                <a:cubicBezTo>
                  <a:pt x="1283" y="480"/>
                  <a:pt x="1480" y="677"/>
                  <a:pt x="1480" y="920"/>
                </a:cubicBezTo>
                <a:cubicBezTo>
                  <a:pt x="1480" y="1163"/>
                  <a:pt x="1283" y="1360"/>
                  <a:pt x="1040" y="1360"/>
                </a:cubicBezTo>
                <a:cubicBezTo>
                  <a:pt x="797" y="1360"/>
                  <a:pt x="600" y="1163"/>
                  <a:pt x="600" y="920"/>
                </a:cubicBezTo>
                <a:cubicBezTo>
                  <a:pt x="600" y="677"/>
                  <a:pt x="797" y="480"/>
                  <a:pt x="1040" y="48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 bwMode="gray">
          <a:xfrm>
            <a:off x="8629219" y="4487643"/>
            <a:ext cx="13372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oren oversteken</a:t>
            </a:r>
          </a:p>
        </p:txBody>
      </p:sp>
      <p:grpSp>
        <p:nvGrpSpPr>
          <p:cNvPr id="71" name="Group 70"/>
          <p:cNvGrpSpPr/>
          <p:nvPr/>
        </p:nvGrpSpPr>
        <p:grpSpPr>
          <a:xfrm>
            <a:off x="8055149" y="4390917"/>
            <a:ext cx="355535" cy="278776"/>
            <a:chOff x="4985544" y="4719562"/>
            <a:chExt cx="355535" cy="278776"/>
          </a:xfrm>
        </p:grpSpPr>
        <p:pic>
          <p:nvPicPr>
            <p:cNvPr id="72" name="Picture 71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167"/>
            <a:stretch/>
          </p:blipFill>
          <p:spPr>
            <a:xfrm rot="1290358">
              <a:off x="5087872" y="4719562"/>
              <a:ext cx="196818" cy="278776"/>
            </a:xfrm>
            <a:prstGeom prst="rect">
              <a:avLst/>
            </a:prstGeom>
          </p:spPr>
        </p:pic>
        <p:sp>
          <p:nvSpPr>
            <p:cNvPr id="73" name="Freeform 72"/>
            <p:cNvSpPr>
              <a:spLocks noEditPoints="1"/>
            </p:cNvSpPr>
            <p:nvPr/>
          </p:nvSpPr>
          <p:spPr bwMode="gray">
            <a:xfrm rot="11664682" flipV="1">
              <a:off x="4985544" y="4754303"/>
              <a:ext cx="355535" cy="200337"/>
            </a:xfrm>
            <a:custGeom>
              <a:avLst/>
              <a:gdLst>
                <a:gd name="T0" fmla="*/ 508 w 642"/>
                <a:gd name="T1" fmla="*/ 94 h 189"/>
                <a:gd name="T2" fmla="*/ 243 w 642"/>
                <a:gd name="T3" fmla="*/ 72 h 189"/>
                <a:gd name="T4" fmla="*/ 21 w 642"/>
                <a:gd name="T5" fmla="*/ 183 h 189"/>
                <a:gd name="T6" fmla="*/ 4 w 642"/>
                <a:gd name="T7" fmla="*/ 182 h 189"/>
                <a:gd name="T8" fmla="*/ 10 w 642"/>
                <a:gd name="T9" fmla="*/ 164 h 189"/>
                <a:gd name="T10" fmla="*/ 239 w 642"/>
                <a:gd name="T11" fmla="*/ 47 h 189"/>
                <a:gd name="T12" fmla="*/ 522 w 642"/>
                <a:gd name="T13" fmla="*/ 68 h 189"/>
                <a:gd name="T14" fmla="*/ 508 w 642"/>
                <a:gd name="T15" fmla="*/ 94 h 189"/>
                <a:gd name="T16" fmla="*/ 630 w 642"/>
                <a:gd name="T17" fmla="*/ 93 h 189"/>
                <a:gd name="T18" fmla="*/ 515 w 642"/>
                <a:gd name="T19" fmla="*/ 7 h 189"/>
                <a:gd name="T20" fmla="*/ 496 w 642"/>
                <a:gd name="T21" fmla="*/ 30 h 189"/>
                <a:gd name="T22" fmla="*/ 572 w 642"/>
                <a:gd name="T23" fmla="*/ 87 h 189"/>
                <a:gd name="T24" fmla="*/ 541 w 642"/>
                <a:gd name="T25" fmla="*/ 98 h 189"/>
                <a:gd name="T26" fmla="*/ 459 w 642"/>
                <a:gd name="T27" fmla="*/ 162 h 189"/>
                <a:gd name="T28" fmla="*/ 462 w 642"/>
                <a:gd name="T29" fmla="*/ 179 h 189"/>
                <a:gd name="T30" fmla="*/ 479 w 642"/>
                <a:gd name="T31" fmla="*/ 169 h 189"/>
                <a:gd name="T32" fmla="*/ 536 w 642"/>
                <a:gd name="T33" fmla="*/ 125 h 189"/>
                <a:gd name="T34" fmla="*/ 611 w 642"/>
                <a:gd name="T35" fmla="*/ 116 h 189"/>
                <a:gd name="T36" fmla="*/ 630 w 642"/>
                <a:gd name="T37" fmla="*/ 9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2" h="189">
                  <a:moveTo>
                    <a:pt x="508" y="94"/>
                  </a:moveTo>
                  <a:cubicBezTo>
                    <a:pt x="422" y="74"/>
                    <a:pt x="331" y="62"/>
                    <a:pt x="243" y="72"/>
                  </a:cubicBezTo>
                  <a:cubicBezTo>
                    <a:pt x="160" y="82"/>
                    <a:pt x="79" y="125"/>
                    <a:pt x="21" y="183"/>
                  </a:cubicBezTo>
                  <a:cubicBezTo>
                    <a:pt x="16" y="187"/>
                    <a:pt x="7" y="189"/>
                    <a:pt x="4" y="182"/>
                  </a:cubicBezTo>
                  <a:cubicBezTo>
                    <a:pt x="0" y="176"/>
                    <a:pt x="5" y="168"/>
                    <a:pt x="10" y="164"/>
                  </a:cubicBezTo>
                  <a:cubicBezTo>
                    <a:pt x="70" y="104"/>
                    <a:pt x="155" y="58"/>
                    <a:pt x="239" y="47"/>
                  </a:cubicBezTo>
                  <a:cubicBezTo>
                    <a:pt x="333" y="34"/>
                    <a:pt x="430" y="47"/>
                    <a:pt x="522" y="68"/>
                  </a:cubicBezTo>
                  <a:cubicBezTo>
                    <a:pt x="537" y="71"/>
                    <a:pt x="521" y="97"/>
                    <a:pt x="508" y="94"/>
                  </a:cubicBezTo>
                  <a:close/>
                  <a:moveTo>
                    <a:pt x="630" y="93"/>
                  </a:moveTo>
                  <a:cubicBezTo>
                    <a:pt x="590" y="67"/>
                    <a:pt x="555" y="33"/>
                    <a:pt x="515" y="7"/>
                  </a:cubicBezTo>
                  <a:cubicBezTo>
                    <a:pt x="503" y="0"/>
                    <a:pt x="484" y="23"/>
                    <a:pt x="496" y="30"/>
                  </a:cubicBezTo>
                  <a:cubicBezTo>
                    <a:pt x="523" y="47"/>
                    <a:pt x="547" y="68"/>
                    <a:pt x="572" y="87"/>
                  </a:cubicBezTo>
                  <a:cubicBezTo>
                    <a:pt x="561" y="90"/>
                    <a:pt x="551" y="94"/>
                    <a:pt x="541" y="98"/>
                  </a:cubicBezTo>
                  <a:cubicBezTo>
                    <a:pt x="509" y="111"/>
                    <a:pt x="478" y="133"/>
                    <a:pt x="459" y="162"/>
                  </a:cubicBezTo>
                  <a:cubicBezTo>
                    <a:pt x="455" y="167"/>
                    <a:pt x="455" y="176"/>
                    <a:pt x="462" y="179"/>
                  </a:cubicBezTo>
                  <a:cubicBezTo>
                    <a:pt x="469" y="181"/>
                    <a:pt x="475" y="175"/>
                    <a:pt x="479" y="169"/>
                  </a:cubicBezTo>
                  <a:cubicBezTo>
                    <a:pt x="493" y="150"/>
                    <a:pt x="515" y="136"/>
                    <a:pt x="536" y="125"/>
                  </a:cubicBezTo>
                  <a:cubicBezTo>
                    <a:pt x="557" y="115"/>
                    <a:pt x="588" y="103"/>
                    <a:pt x="611" y="116"/>
                  </a:cubicBezTo>
                  <a:cubicBezTo>
                    <a:pt x="623" y="122"/>
                    <a:pt x="642" y="100"/>
                    <a:pt x="630" y="93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74" name="Freeform 11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668729" y="3547329"/>
            <a:ext cx="292481" cy="340814"/>
          </a:xfrm>
          <a:custGeom>
            <a:avLst/>
            <a:gdLst>
              <a:gd name="T0" fmla="*/ 68 w 1693"/>
              <a:gd name="T1" fmla="*/ 1211 h 1973"/>
              <a:gd name="T2" fmla="*/ 8 w 1693"/>
              <a:gd name="T3" fmla="*/ 900 h 1973"/>
              <a:gd name="T4" fmla="*/ 108 w 1693"/>
              <a:gd name="T5" fmla="*/ 558 h 1973"/>
              <a:gd name="T6" fmla="*/ 340 w 1693"/>
              <a:gd name="T7" fmla="*/ 409 h 1973"/>
              <a:gd name="T8" fmla="*/ 680 w 1693"/>
              <a:gd name="T9" fmla="*/ 705 h 1973"/>
              <a:gd name="T10" fmla="*/ 694 w 1693"/>
              <a:gd name="T11" fmla="*/ 1022 h 1973"/>
              <a:gd name="T12" fmla="*/ 704 w 1693"/>
              <a:gd name="T13" fmla="*/ 1334 h 1973"/>
              <a:gd name="T14" fmla="*/ 711 w 1693"/>
              <a:gd name="T15" fmla="*/ 1369 h 1973"/>
              <a:gd name="T16" fmla="*/ 204 w 1693"/>
              <a:gd name="T17" fmla="*/ 1528 h 1973"/>
              <a:gd name="T18" fmla="*/ 188 w 1693"/>
              <a:gd name="T19" fmla="*/ 1496 h 1973"/>
              <a:gd name="T20" fmla="*/ 68 w 1693"/>
              <a:gd name="T21" fmla="*/ 1211 h 1973"/>
              <a:gd name="T22" fmla="*/ 709 w 1693"/>
              <a:gd name="T23" fmla="*/ 1480 h 1973"/>
              <a:gd name="T24" fmla="*/ 738 w 1693"/>
              <a:gd name="T25" fmla="*/ 1558 h 1973"/>
              <a:gd name="T26" fmla="*/ 610 w 1693"/>
              <a:gd name="T27" fmla="*/ 1929 h 1973"/>
              <a:gd name="T28" fmla="*/ 557 w 1693"/>
              <a:gd name="T29" fmla="*/ 1945 h 1973"/>
              <a:gd name="T30" fmla="*/ 247 w 1693"/>
              <a:gd name="T31" fmla="*/ 1712 h 1973"/>
              <a:gd name="T32" fmla="*/ 230 w 1693"/>
              <a:gd name="T33" fmla="*/ 1636 h 1973"/>
              <a:gd name="T34" fmla="*/ 709 w 1693"/>
              <a:gd name="T35" fmla="*/ 1480 h 1973"/>
              <a:gd name="T36" fmla="*/ 1685 w 1693"/>
              <a:gd name="T37" fmla="*/ 501 h 1973"/>
              <a:gd name="T38" fmla="*/ 1625 w 1693"/>
              <a:gd name="T39" fmla="*/ 813 h 1973"/>
              <a:gd name="T40" fmla="*/ 1504 w 1693"/>
              <a:gd name="T41" fmla="*/ 1098 h 1973"/>
              <a:gd name="T42" fmla="*/ 1489 w 1693"/>
              <a:gd name="T43" fmla="*/ 1129 h 1973"/>
              <a:gd name="T44" fmla="*/ 982 w 1693"/>
              <a:gd name="T45" fmla="*/ 970 h 1973"/>
              <a:gd name="T46" fmla="*/ 989 w 1693"/>
              <a:gd name="T47" fmla="*/ 935 h 1973"/>
              <a:gd name="T48" fmla="*/ 999 w 1693"/>
              <a:gd name="T49" fmla="*/ 624 h 1973"/>
              <a:gd name="T50" fmla="*/ 1013 w 1693"/>
              <a:gd name="T51" fmla="*/ 307 h 1973"/>
              <a:gd name="T52" fmla="*/ 1352 w 1693"/>
              <a:gd name="T53" fmla="*/ 10 h 1973"/>
              <a:gd name="T54" fmla="*/ 1584 w 1693"/>
              <a:gd name="T55" fmla="*/ 159 h 1973"/>
              <a:gd name="T56" fmla="*/ 1685 w 1693"/>
              <a:gd name="T57" fmla="*/ 501 h 1973"/>
              <a:gd name="T58" fmla="*/ 1463 w 1693"/>
              <a:gd name="T59" fmla="*/ 1238 h 1973"/>
              <a:gd name="T60" fmla="*/ 1456 w 1693"/>
              <a:gd name="T61" fmla="*/ 1272 h 1973"/>
              <a:gd name="T62" fmla="*/ 1446 w 1693"/>
              <a:gd name="T63" fmla="*/ 1314 h 1973"/>
              <a:gd name="T64" fmla="*/ 1136 w 1693"/>
              <a:gd name="T65" fmla="*/ 1546 h 1973"/>
              <a:gd name="T66" fmla="*/ 1105 w 1693"/>
              <a:gd name="T67" fmla="*/ 1539 h 1973"/>
              <a:gd name="T68" fmla="*/ 1082 w 1693"/>
              <a:gd name="T69" fmla="*/ 1531 h 1973"/>
              <a:gd name="T70" fmla="*/ 954 w 1693"/>
              <a:gd name="T71" fmla="*/ 1160 h 1973"/>
              <a:gd name="T72" fmla="*/ 970 w 1693"/>
              <a:gd name="T73" fmla="*/ 1117 h 1973"/>
              <a:gd name="T74" fmla="*/ 984 w 1693"/>
              <a:gd name="T75" fmla="*/ 1082 h 1973"/>
              <a:gd name="T76" fmla="*/ 1463 w 1693"/>
              <a:gd name="T77" fmla="*/ 1238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3" h="1973">
                <a:moveTo>
                  <a:pt x="68" y="1211"/>
                </a:moveTo>
                <a:cubicBezTo>
                  <a:pt x="36" y="1116"/>
                  <a:pt x="16" y="1018"/>
                  <a:pt x="8" y="900"/>
                </a:cubicBezTo>
                <a:cubicBezTo>
                  <a:pt x="0" y="783"/>
                  <a:pt x="40" y="653"/>
                  <a:pt x="108" y="558"/>
                </a:cubicBezTo>
                <a:cubicBezTo>
                  <a:pt x="163" y="481"/>
                  <a:pt x="243" y="416"/>
                  <a:pt x="340" y="409"/>
                </a:cubicBezTo>
                <a:cubicBezTo>
                  <a:pt x="504" y="398"/>
                  <a:pt x="640" y="560"/>
                  <a:pt x="680" y="705"/>
                </a:cubicBezTo>
                <a:cubicBezTo>
                  <a:pt x="709" y="810"/>
                  <a:pt x="703" y="915"/>
                  <a:pt x="694" y="1022"/>
                </a:cubicBezTo>
                <a:cubicBezTo>
                  <a:pt x="682" y="1148"/>
                  <a:pt x="678" y="1199"/>
                  <a:pt x="704" y="1334"/>
                </a:cubicBezTo>
                <a:cubicBezTo>
                  <a:pt x="711" y="1369"/>
                  <a:pt x="711" y="1369"/>
                  <a:pt x="711" y="1369"/>
                </a:cubicBezTo>
                <a:cubicBezTo>
                  <a:pt x="542" y="1422"/>
                  <a:pt x="373" y="1474"/>
                  <a:pt x="204" y="1528"/>
                </a:cubicBezTo>
                <a:cubicBezTo>
                  <a:pt x="188" y="1496"/>
                  <a:pt x="188" y="1496"/>
                  <a:pt x="188" y="1496"/>
                </a:cubicBezTo>
                <a:cubicBezTo>
                  <a:pt x="139" y="1396"/>
                  <a:pt x="98" y="1306"/>
                  <a:pt x="68" y="1211"/>
                </a:cubicBezTo>
                <a:close/>
                <a:moveTo>
                  <a:pt x="709" y="1480"/>
                </a:moveTo>
                <a:cubicBezTo>
                  <a:pt x="720" y="1506"/>
                  <a:pt x="730" y="1532"/>
                  <a:pt x="738" y="1558"/>
                </a:cubicBezTo>
                <a:cubicBezTo>
                  <a:pt x="782" y="1701"/>
                  <a:pt x="767" y="1867"/>
                  <a:pt x="610" y="1929"/>
                </a:cubicBezTo>
                <a:cubicBezTo>
                  <a:pt x="593" y="1936"/>
                  <a:pt x="575" y="1941"/>
                  <a:pt x="557" y="1945"/>
                </a:cubicBezTo>
                <a:cubicBezTo>
                  <a:pt x="402" y="1973"/>
                  <a:pt x="288" y="1849"/>
                  <a:pt x="247" y="1712"/>
                </a:cubicBezTo>
                <a:cubicBezTo>
                  <a:pt x="239" y="1687"/>
                  <a:pt x="235" y="1662"/>
                  <a:pt x="230" y="1636"/>
                </a:cubicBezTo>
                <a:lnTo>
                  <a:pt x="709" y="1480"/>
                </a:lnTo>
                <a:close/>
                <a:moveTo>
                  <a:pt x="1685" y="501"/>
                </a:moveTo>
                <a:cubicBezTo>
                  <a:pt x="1677" y="619"/>
                  <a:pt x="1656" y="718"/>
                  <a:pt x="1625" y="813"/>
                </a:cubicBezTo>
                <a:cubicBezTo>
                  <a:pt x="1594" y="908"/>
                  <a:pt x="1553" y="997"/>
                  <a:pt x="1504" y="1098"/>
                </a:cubicBezTo>
                <a:cubicBezTo>
                  <a:pt x="1489" y="1129"/>
                  <a:pt x="1489" y="1129"/>
                  <a:pt x="1489" y="1129"/>
                </a:cubicBezTo>
                <a:cubicBezTo>
                  <a:pt x="982" y="970"/>
                  <a:pt x="982" y="970"/>
                  <a:pt x="982" y="970"/>
                </a:cubicBezTo>
                <a:cubicBezTo>
                  <a:pt x="989" y="935"/>
                  <a:pt x="989" y="935"/>
                  <a:pt x="989" y="935"/>
                </a:cubicBezTo>
                <a:cubicBezTo>
                  <a:pt x="1015" y="801"/>
                  <a:pt x="1011" y="750"/>
                  <a:pt x="999" y="624"/>
                </a:cubicBezTo>
                <a:cubicBezTo>
                  <a:pt x="990" y="517"/>
                  <a:pt x="984" y="412"/>
                  <a:pt x="1013" y="307"/>
                </a:cubicBezTo>
                <a:cubicBezTo>
                  <a:pt x="1053" y="162"/>
                  <a:pt x="1189" y="0"/>
                  <a:pt x="1352" y="10"/>
                </a:cubicBezTo>
                <a:cubicBezTo>
                  <a:pt x="1450" y="17"/>
                  <a:pt x="1530" y="83"/>
                  <a:pt x="1584" y="159"/>
                </a:cubicBezTo>
                <a:cubicBezTo>
                  <a:pt x="1652" y="255"/>
                  <a:pt x="1693" y="385"/>
                  <a:pt x="1685" y="501"/>
                </a:cubicBezTo>
                <a:close/>
                <a:moveTo>
                  <a:pt x="1463" y="1238"/>
                </a:moveTo>
                <a:cubicBezTo>
                  <a:pt x="1456" y="1272"/>
                  <a:pt x="1456" y="1272"/>
                  <a:pt x="1456" y="1272"/>
                </a:cubicBezTo>
                <a:cubicBezTo>
                  <a:pt x="1454" y="1286"/>
                  <a:pt x="1450" y="1300"/>
                  <a:pt x="1446" y="1314"/>
                </a:cubicBezTo>
                <a:cubicBezTo>
                  <a:pt x="1404" y="1451"/>
                  <a:pt x="1291" y="1575"/>
                  <a:pt x="1136" y="1546"/>
                </a:cubicBezTo>
                <a:cubicBezTo>
                  <a:pt x="1126" y="1544"/>
                  <a:pt x="1115" y="1542"/>
                  <a:pt x="1105" y="1539"/>
                </a:cubicBezTo>
                <a:cubicBezTo>
                  <a:pt x="1097" y="1536"/>
                  <a:pt x="1090" y="1534"/>
                  <a:pt x="1082" y="1531"/>
                </a:cubicBezTo>
                <a:cubicBezTo>
                  <a:pt x="895" y="1456"/>
                  <a:pt x="904" y="1323"/>
                  <a:pt x="954" y="1160"/>
                </a:cubicBezTo>
                <a:cubicBezTo>
                  <a:pt x="959" y="1146"/>
                  <a:pt x="964" y="1131"/>
                  <a:pt x="970" y="1117"/>
                </a:cubicBezTo>
                <a:cubicBezTo>
                  <a:pt x="984" y="1082"/>
                  <a:pt x="984" y="1082"/>
                  <a:pt x="984" y="1082"/>
                </a:cubicBezTo>
                <a:lnTo>
                  <a:pt x="1463" y="1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5" name="Chevron 74"/>
          <p:cNvSpPr/>
          <p:nvPr/>
        </p:nvSpPr>
        <p:spPr bwMode="gray">
          <a:xfrm>
            <a:off x="6290731" y="2361802"/>
            <a:ext cx="1232050" cy="459548"/>
          </a:xfrm>
          <a:prstGeom prst="chevron">
            <a:avLst/>
          </a:prstGeom>
          <a:solidFill>
            <a:srgbClr val="F0A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76" name="Freeform 56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7701616" y="5480134"/>
            <a:ext cx="322305" cy="224413"/>
          </a:xfrm>
          <a:custGeom>
            <a:avLst/>
            <a:gdLst>
              <a:gd name="T0" fmla="*/ 1034 w 2068"/>
              <a:gd name="T1" fmla="*/ 0 h 1440"/>
              <a:gd name="T2" fmla="*/ 2065 w 2068"/>
              <a:gd name="T3" fmla="*/ 706 h 1440"/>
              <a:gd name="T4" fmla="*/ 2065 w 2068"/>
              <a:gd name="T5" fmla="*/ 734 h 1440"/>
              <a:gd name="T6" fmla="*/ 1034 w 2068"/>
              <a:gd name="T7" fmla="*/ 1440 h 1440"/>
              <a:gd name="T8" fmla="*/ 3 w 2068"/>
              <a:gd name="T9" fmla="*/ 734 h 1440"/>
              <a:gd name="T10" fmla="*/ 3 w 2068"/>
              <a:gd name="T11" fmla="*/ 706 h 1440"/>
              <a:gd name="T12" fmla="*/ 1034 w 2068"/>
              <a:gd name="T13" fmla="*/ 0 h 1440"/>
              <a:gd name="T14" fmla="*/ 1034 w 2068"/>
              <a:gd name="T15" fmla="*/ 160 h 1440"/>
              <a:gd name="T16" fmla="*/ 474 w 2068"/>
              <a:gd name="T17" fmla="*/ 720 h 1440"/>
              <a:gd name="T18" fmla="*/ 1034 w 2068"/>
              <a:gd name="T19" fmla="*/ 1280 h 1440"/>
              <a:gd name="T20" fmla="*/ 1594 w 2068"/>
              <a:gd name="T21" fmla="*/ 720 h 1440"/>
              <a:gd name="T22" fmla="*/ 1034 w 2068"/>
              <a:gd name="T23" fmla="*/ 160 h 1440"/>
              <a:gd name="T24" fmla="*/ 1322 w 2068"/>
              <a:gd name="T25" fmla="*/ 336 h 1440"/>
              <a:gd name="T26" fmla="*/ 686 w 2068"/>
              <a:gd name="T27" fmla="*/ 1051 h 1440"/>
              <a:gd name="T28" fmla="*/ 554 w 2068"/>
              <a:gd name="T29" fmla="*/ 720 h 1440"/>
              <a:gd name="T30" fmla="*/ 1034 w 2068"/>
              <a:gd name="T31" fmla="*/ 240 h 1440"/>
              <a:gd name="T32" fmla="*/ 1322 w 2068"/>
              <a:gd name="T33" fmla="*/ 336 h 1440"/>
              <a:gd name="T34" fmla="*/ 1514 w 2068"/>
              <a:gd name="T35" fmla="*/ 720 h 1440"/>
              <a:gd name="T36" fmla="*/ 1382 w 2068"/>
              <a:gd name="T37" fmla="*/ 389 h 1440"/>
              <a:gd name="T38" fmla="*/ 746 w 2068"/>
              <a:gd name="T39" fmla="*/ 1104 h 1440"/>
              <a:gd name="T40" fmla="*/ 1034 w 2068"/>
              <a:gd name="T41" fmla="*/ 1200 h 1440"/>
              <a:gd name="T42" fmla="*/ 1514 w 2068"/>
              <a:gd name="T43" fmla="*/ 7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68" h="1440">
                <a:moveTo>
                  <a:pt x="1034" y="0"/>
                </a:moveTo>
                <a:cubicBezTo>
                  <a:pt x="1464" y="0"/>
                  <a:pt x="1910" y="303"/>
                  <a:pt x="2065" y="706"/>
                </a:cubicBezTo>
                <a:cubicBezTo>
                  <a:pt x="2068" y="715"/>
                  <a:pt x="2068" y="725"/>
                  <a:pt x="2065" y="734"/>
                </a:cubicBezTo>
                <a:cubicBezTo>
                  <a:pt x="1910" y="1137"/>
                  <a:pt x="1465" y="1440"/>
                  <a:pt x="1034" y="1440"/>
                </a:cubicBezTo>
                <a:cubicBezTo>
                  <a:pt x="603" y="1440"/>
                  <a:pt x="158" y="1137"/>
                  <a:pt x="3" y="734"/>
                </a:cubicBezTo>
                <a:cubicBezTo>
                  <a:pt x="0" y="725"/>
                  <a:pt x="0" y="715"/>
                  <a:pt x="3" y="706"/>
                </a:cubicBezTo>
                <a:cubicBezTo>
                  <a:pt x="158" y="303"/>
                  <a:pt x="604" y="0"/>
                  <a:pt x="1034" y="0"/>
                </a:cubicBezTo>
                <a:close/>
                <a:moveTo>
                  <a:pt x="1034" y="160"/>
                </a:moveTo>
                <a:cubicBezTo>
                  <a:pt x="725" y="160"/>
                  <a:pt x="474" y="411"/>
                  <a:pt x="474" y="720"/>
                </a:cubicBezTo>
                <a:cubicBezTo>
                  <a:pt x="474" y="1029"/>
                  <a:pt x="725" y="1280"/>
                  <a:pt x="1034" y="1280"/>
                </a:cubicBezTo>
                <a:cubicBezTo>
                  <a:pt x="1343" y="1280"/>
                  <a:pt x="1594" y="1029"/>
                  <a:pt x="1594" y="720"/>
                </a:cubicBezTo>
                <a:cubicBezTo>
                  <a:pt x="1594" y="411"/>
                  <a:pt x="1343" y="160"/>
                  <a:pt x="1034" y="160"/>
                </a:cubicBezTo>
                <a:close/>
                <a:moveTo>
                  <a:pt x="1322" y="336"/>
                </a:moveTo>
                <a:cubicBezTo>
                  <a:pt x="686" y="1051"/>
                  <a:pt x="686" y="1051"/>
                  <a:pt x="686" y="1051"/>
                </a:cubicBezTo>
                <a:cubicBezTo>
                  <a:pt x="604" y="965"/>
                  <a:pt x="554" y="848"/>
                  <a:pt x="554" y="720"/>
                </a:cubicBezTo>
                <a:cubicBezTo>
                  <a:pt x="554" y="455"/>
                  <a:pt x="769" y="240"/>
                  <a:pt x="1034" y="240"/>
                </a:cubicBezTo>
                <a:cubicBezTo>
                  <a:pt x="1142" y="240"/>
                  <a:pt x="1242" y="276"/>
                  <a:pt x="1322" y="336"/>
                </a:cubicBezTo>
                <a:close/>
                <a:moveTo>
                  <a:pt x="1514" y="720"/>
                </a:moveTo>
                <a:cubicBezTo>
                  <a:pt x="1514" y="592"/>
                  <a:pt x="1464" y="475"/>
                  <a:pt x="1382" y="389"/>
                </a:cubicBezTo>
                <a:cubicBezTo>
                  <a:pt x="746" y="1104"/>
                  <a:pt x="746" y="1104"/>
                  <a:pt x="746" y="1104"/>
                </a:cubicBezTo>
                <a:cubicBezTo>
                  <a:pt x="826" y="1164"/>
                  <a:pt x="926" y="1200"/>
                  <a:pt x="1034" y="1200"/>
                </a:cubicBezTo>
                <a:cubicBezTo>
                  <a:pt x="1299" y="1200"/>
                  <a:pt x="1514" y="985"/>
                  <a:pt x="1514" y="7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 bwMode="gray">
          <a:xfrm>
            <a:off x="8049863" y="5468139"/>
            <a:ext cx="290847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nbewuste Spoorlopers </a:t>
            </a:r>
            <a:r>
              <a:rPr lang="nl-BE" sz="1400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schouwen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veel van het </a:t>
            </a:r>
            <a:r>
              <a:rPr lang="nl-BE" sz="1400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noemde risicogedrag 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ls </a:t>
            </a:r>
            <a:r>
              <a:rPr lang="nl-BE" sz="1400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nder gevaarlijk 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an de anderen.</a:t>
            </a:r>
          </a:p>
        </p:txBody>
      </p:sp>
      <p:sp>
        <p:nvSpPr>
          <p:cNvPr id="78" name="Chevron 77"/>
          <p:cNvSpPr/>
          <p:nvPr/>
        </p:nvSpPr>
        <p:spPr bwMode="gray">
          <a:xfrm>
            <a:off x="6252845" y="5422148"/>
            <a:ext cx="1232050" cy="459548"/>
          </a:xfrm>
          <a:prstGeom prst="chevron">
            <a:avLst/>
          </a:prstGeom>
          <a:solidFill>
            <a:srgbClr val="F0A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gray">
          <a:xfrm>
            <a:off x="7847407" y="3068751"/>
            <a:ext cx="73165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oog</a:t>
            </a:r>
          </a:p>
        </p:txBody>
      </p:sp>
      <p:sp>
        <p:nvSpPr>
          <p:cNvPr id="79" name="TextBox 78"/>
          <p:cNvSpPr txBox="1"/>
          <p:nvPr/>
        </p:nvSpPr>
        <p:spPr bwMode="gray">
          <a:xfrm>
            <a:off x="10564328" y="3105539"/>
            <a:ext cx="73165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1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aag</a:t>
            </a:r>
          </a:p>
        </p:txBody>
      </p:sp>
      <p:sp>
        <p:nvSpPr>
          <p:cNvPr id="6" name="Right Arrow 5"/>
          <p:cNvSpPr/>
          <p:nvPr/>
        </p:nvSpPr>
        <p:spPr bwMode="gray">
          <a:xfrm>
            <a:off x="8213234" y="3080981"/>
            <a:ext cx="2298907" cy="198247"/>
          </a:xfrm>
          <a:prstGeom prst="rightArrow">
            <a:avLst/>
          </a:prstGeom>
          <a:gradFill flip="none" rotWithShape="1">
            <a:gsLst>
              <a:gs pos="0">
                <a:srgbClr val="00B050"/>
              </a:gs>
              <a:gs pos="61000">
                <a:schemeClr val="accent6">
                  <a:lumMod val="60000"/>
                  <a:lumOff val="40000"/>
                </a:schemeClr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0" name="Freeform 36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7653754" y="1996183"/>
            <a:ext cx="354052" cy="258657"/>
          </a:xfrm>
          <a:custGeom>
            <a:avLst/>
            <a:gdLst>
              <a:gd name="T0" fmla="*/ 160 w 2080"/>
              <a:gd name="T1" fmla="*/ 0 h 1520"/>
              <a:gd name="T2" fmla="*/ 1920 w 2080"/>
              <a:gd name="T3" fmla="*/ 0 h 1520"/>
              <a:gd name="T4" fmla="*/ 2080 w 2080"/>
              <a:gd name="T5" fmla="*/ 160 h 1520"/>
              <a:gd name="T6" fmla="*/ 2080 w 2080"/>
              <a:gd name="T7" fmla="*/ 1360 h 1520"/>
              <a:gd name="T8" fmla="*/ 1920 w 2080"/>
              <a:gd name="T9" fmla="*/ 1520 h 1520"/>
              <a:gd name="T10" fmla="*/ 160 w 2080"/>
              <a:gd name="T11" fmla="*/ 1520 h 1520"/>
              <a:gd name="T12" fmla="*/ 0 w 2080"/>
              <a:gd name="T13" fmla="*/ 1360 h 1520"/>
              <a:gd name="T14" fmla="*/ 0 w 2080"/>
              <a:gd name="T15" fmla="*/ 160 h 1520"/>
              <a:gd name="T16" fmla="*/ 160 w 2080"/>
              <a:gd name="T17" fmla="*/ 0 h 1520"/>
              <a:gd name="T18" fmla="*/ 1120 w 2080"/>
              <a:gd name="T19" fmla="*/ 320 h 1520"/>
              <a:gd name="T20" fmla="*/ 1120 w 2080"/>
              <a:gd name="T21" fmla="*/ 1360 h 1520"/>
              <a:gd name="T22" fmla="*/ 1920 w 2080"/>
              <a:gd name="T23" fmla="*/ 1360 h 1520"/>
              <a:gd name="T24" fmla="*/ 1920 w 2080"/>
              <a:gd name="T25" fmla="*/ 320 h 1520"/>
              <a:gd name="T26" fmla="*/ 1120 w 2080"/>
              <a:gd name="T27" fmla="*/ 320 h 1520"/>
              <a:gd name="T28" fmla="*/ 1840 w 2080"/>
              <a:gd name="T29" fmla="*/ 400 h 1520"/>
              <a:gd name="T30" fmla="*/ 1840 w 2080"/>
              <a:gd name="T31" fmla="*/ 1200 h 1520"/>
              <a:gd name="T32" fmla="*/ 1816 w 2080"/>
              <a:gd name="T33" fmla="*/ 1170 h 1520"/>
              <a:gd name="T34" fmla="*/ 1750 w 2080"/>
              <a:gd name="T35" fmla="*/ 1136 h 1520"/>
              <a:gd name="T36" fmla="*/ 1660 w 2080"/>
              <a:gd name="T37" fmla="*/ 1102 h 1520"/>
              <a:gd name="T38" fmla="*/ 1625 w 2080"/>
              <a:gd name="T39" fmla="*/ 996 h 1520"/>
              <a:gd name="T40" fmla="*/ 1689 w 2080"/>
              <a:gd name="T41" fmla="*/ 871 h 1520"/>
              <a:gd name="T42" fmla="*/ 1724 w 2080"/>
              <a:gd name="T43" fmla="*/ 779 h 1520"/>
              <a:gd name="T44" fmla="*/ 1731 w 2080"/>
              <a:gd name="T45" fmla="*/ 671 h 1520"/>
              <a:gd name="T46" fmla="*/ 1568 w 2080"/>
              <a:gd name="T47" fmla="*/ 545 h 1520"/>
              <a:gd name="T48" fmla="*/ 1511 w 2080"/>
              <a:gd name="T49" fmla="*/ 521 h 1520"/>
              <a:gd name="T50" fmla="*/ 1309 w 2080"/>
              <a:gd name="T51" fmla="*/ 672 h 1520"/>
              <a:gd name="T52" fmla="*/ 1316 w 2080"/>
              <a:gd name="T53" fmla="*/ 779 h 1520"/>
              <a:gd name="T54" fmla="*/ 1351 w 2080"/>
              <a:gd name="T55" fmla="*/ 871 h 1520"/>
              <a:gd name="T56" fmla="*/ 1415 w 2080"/>
              <a:gd name="T57" fmla="*/ 996 h 1520"/>
              <a:gd name="T58" fmla="*/ 1380 w 2080"/>
              <a:gd name="T59" fmla="*/ 1102 h 1520"/>
              <a:gd name="T60" fmla="*/ 1290 w 2080"/>
              <a:gd name="T61" fmla="*/ 1136 h 1520"/>
              <a:gd name="T62" fmla="*/ 1224 w 2080"/>
              <a:gd name="T63" fmla="*/ 1170 h 1520"/>
              <a:gd name="T64" fmla="*/ 1200 w 2080"/>
              <a:gd name="T65" fmla="*/ 1200 h 1520"/>
              <a:gd name="T66" fmla="*/ 1200 w 2080"/>
              <a:gd name="T67" fmla="*/ 400 h 1520"/>
              <a:gd name="T68" fmla="*/ 1840 w 2080"/>
              <a:gd name="T69" fmla="*/ 400 h 1520"/>
              <a:gd name="T70" fmla="*/ 240 w 2080"/>
              <a:gd name="T71" fmla="*/ 480 h 1520"/>
              <a:gd name="T72" fmla="*/ 240 w 2080"/>
              <a:gd name="T73" fmla="*/ 560 h 1520"/>
              <a:gd name="T74" fmla="*/ 959 w 2080"/>
              <a:gd name="T75" fmla="*/ 560 h 1520"/>
              <a:gd name="T76" fmla="*/ 959 w 2080"/>
              <a:gd name="T77" fmla="*/ 480 h 1520"/>
              <a:gd name="T78" fmla="*/ 240 w 2080"/>
              <a:gd name="T79" fmla="*/ 480 h 1520"/>
              <a:gd name="T80" fmla="*/ 241 w 2080"/>
              <a:gd name="T81" fmla="*/ 719 h 1520"/>
              <a:gd name="T82" fmla="*/ 241 w 2080"/>
              <a:gd name="T83" fmla="*/ 799 h 1520"/>
              <a:gd name="T84" fmla="*/ 960 w 2080"/>
              <a:gd name="T85" fmla="*/ 799 h 1520"/>
              <a:gd name="T86" fmla="*/ 960 w 2080"/>
              <a:gd name="T87" fmla="*/ 719 h 1520"/>
              <a:gd name="T88" fmla="*/ 241 w 2080"/>
              <a:gd name="T89" fmla="*/ 719 h 1520"/>
              <a:gd name="T90" fmla="*/ 241 w 2080"/>
              <a:gd name="T91" fmla="*/ 960 h 1520"/>
              <a:gd name="T92" fmla="*/ 241 w 2080"/>
              <a:gd name="T93" fmla="*/ 1040 h 1520"/>
              <a:gd name="T94" fmla="*/ 720 w 2080"/>
              <a:gd name="T95" fmla="*/ 1040 h 1520"/>
              <a:gd name="T96" fmla="*/ 720 w 2080"/>
              <a:gd name="T97" fmla="*/ 960 h 1520"/>
              <a:gd name="T98" fmla="*/ 241 w 2080"/>
              <a:gd name="T99" fmla="*/ 96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520">
                <a:moveTo>
                  <a:pt x="160" y="0"/>
                </a:moveTo>
                <a:cubicBezTo>
                  <a:pt x="1920" y="0"/>
                  <a:pt x="1920" y="0"/>
                  <a:pt x="1920" y="0"/>
                </a:cubicBezTo>
                <a:cubicBezTo>
                  <a:pt x="2008" y="0"/>
                  <a:pt x="2080" y="72"/>
                  <a:pt x="2080" y="160"/>
                </a:cubicBezTo>
                <a:cubicBezTo>
                  <a:pt x="2080" y="1360"/>
                  <a:pt x="2080" y="1360"/>
                  <a:pt x="2080" y="1360"/>
                </a:cubicBezTo>
                <a:cubicBezTo>
                  <a:pt x="2080" y="1448"/>
                  <a:pt x="2008" y="1520"/>
                  <a:pt x="1920" y="1520"/>
                </a:cubicBezTo>
                <a:cubicBezTo>
                  <a:pt x="160" y="1520"/>
                  <a:pt x="160" y="1520"/>
                  <a:pt x="160" y="1520"/>
                </a:cubicBezTo>
                <a:cubicBezTo>
                  <a:pt x="72" y="1520"/>
                  <a:pt x="0" y="1448"/>
                  <a:pt x="0" y="13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72"/>
                  <a:pt x="72" y="0"/>
                  <a:pt x="160" y="0"/>
                </a:cubicBezTo>
                <a:close/>
                <a:moveTo>
                  <a:pt x="1120" y="320"/>
                </a:moveTo>
                <a:cubicBezTo>
                  <a:pt x="1120" y="1360"/>
                  <a:pt x="1120" y="1360"/>
                  <a:pt x="1120" y="1360"/>
                </a:cubicBezTo>
                <a:cubicBezTo>
                  <a:pt x="1920" y="1360"/>
                  <a:pt x="1920" y="1360"/>
                  <a:pt x="1920" y="1360"/>
                </a:cubicBezTo>
                <a:cubicBezTo>
                  <a:pt x="1920" y="320"/>
                  <a:pt x="1920" y="320"/>
                  <a:pt x="1920" y="320"/>
                </a:cubicBezTo>
                <a:lnTo>
                  <a:pt x="1120" y="320"/>
                </a:lnTo>
                <a:close/>
                <a:moveTo>
                  <a:pt x="1840" y="400"/>
                </a:moveTo>
                <a:cubicBezTo>
                  <a:pt x="1840" y="1200"/>
                  <a:pt x="1840" y="1200"/>
                  <a:pt x="1840" y="1200"/>
                </a:cubicBezTo>
                <a:cubicBezTo>
                  <a:pt x="1833" y="1189"/>
                  <a:pt x="1825" y="1178"/>
                  <a:pt x="1816" y="1170"/>
                </a:cubicBezTo>
                <a:cubicBezTo>
                  <a:pt x="1799" y="1154"/>
                  <a:pt x="1772" y="1144"/>
                  <a:pt x="1750" y="1136"/>
                </a:cubicBezTo>
                <a:cubicBezTo>
                  <a:pt x="1714" y="1123"/>
                  <a:pt x="1693" y="1122"/>
                  <a:pt x="1660" y="1102"/>
                </a:cubicBezTo>
                <a:cubicBezTo>
                  <a:pt x="1628" y="1083"/>
                  <a:pt x="1626" y="1029"/>
                  <a:pt x="1625" y="996"/>
                </a:cubicBezTo>
                <a:cubicBezTo>
                  <a:pt x="1654" y="968"/>
                  <a:pt x="1679" y="908"/>
                  <a:pt x="1689" y="871"/>
                </a:cubicBezTo>
                <a:cubicBezTo>
                  <a:pt x="1722" y="855"/>
                  <a:pt x="1734" y="813"/>
                  <a:pt x="1724" y="779"/>
                </a:cubicBezTo>
                <a:cubicBezTo>
                  <a:pt x="1731" y="671"/>
                  <a:pt x="1731" y="671"/>
                  <a:pt x="1731" y="671"/>
                </a:cubicBezTo>
                <a:cubicBezTo>
                  <a:pt x="1738" y="594"/>
                  <a:pt x="1645" y="507"/>
                  <a:pt x="1568" y="545"/>
                </a:cubicBezTo>
                <a:cubicBezTo>
                  <a:pt x="1548" y="532"/>
                  <a:pt x="1536" y="525"/>
                  <a:pt x="1511" y="521"/>
                </a:cubicBezTo>
                <a:cubicBezTo>
                  <a:pt x="1413" y="505"/>
                  <a:pt x="1307" y="564"/>
                  <a:pt x="1309" y="672"/>
                </a:cubicBezTo>
                <a:cubicBezTo>
                  <a:pt x="1316" y="779"/>
                  <a:pt x="1316" y="779"/>
                  <a:pt x="1316" y="779"/>
                </a:cubicBezTo>
                <a:cubicBezTo>
                  <a:pt x="1306" y="812"/>
                  <a:pt x="1318" y="855"/>
                  <a:pt x="1351" y="871"/>
                </a:cubicBezTo>
                <a:cubicBezTo>
                  <a:pt x="1361" y="909"/>
                  <a:pt x="1387" y="969"/>
                  <a:pt x="1415" y="996"/>
                </a:cubicBezTo>
                <a:cubicBezTo>
                  <a:pt x="1415" y="1028"/>
                  <a:pt x="1410" y="1084"/>
                  <a:pt x="1380" y="1102"/>
                </a:cubicBezTo>
                <a:cubicBezTo>
                  <a:pt x="1347" y="1122"/>
                  <a:pt x="1326" y="1123"/>
                  <a:pt x="1290" y="1136"/>
                </a:cubicBezTo>
                <a:cubicBezTo>
                  <a:pt x="1268" y="1144"/>
                  <a:pt x="1241" y="1154"/>
                  <a:pt x="1224" y="1170"/>
                </a:cubicBezTo>
                <a:cubicBezTo>
                  <a:pt x="1215" y="1178"/>
                  <a:pt x="1207" y="1189"/>
                  <a:pt x="1200" y="1200"/>
                </a:cubicBezTo>
                <a:cubicBezTo>
                  <a:pt x="1200" y="400"/>
                  <a:pt x="1200" y="400"/>
                  <a:pt x="1200" y="400"/>
                </a:cubicBezTo>
                <a:lnTo>
                  <a:pt x="1840" y="400"/>
                </a:lnTo>
                <a:close/>
                <a:moveTo>
                  <a:pt x="240" y="480"/>
                </a:moveTo>
                <a:cubicBezTo>
                  <a:pt x="240" y="560"/>
                  <a:pt x="240" y="560"/>
                  <a:pt x="240" y="560"/>
                </a:cubicBezTo>
                <a:cubicBezTo>
                  <a:pt x="959" y="560"/>
                  <a:pt x="959" y="560"/>
                  <a:pt x="959" y="560"/>
                </a:cubicBezTo>
                <a:cubicBezTo>
                  <a:pt x="959" y="480"/>
                  <a:pt x="959" y="480"/>
                  <a:pt x="959" y="480"/>
                </a:cubicBezTo>
                <a:lnTo>
                  <a:pt x="240" y="480"/>
                </a:lnTo>
                <a:close/>
                <a:moveTo>
                  <a:pt x="241" y="719"/>
                </a:moveTo>
                <a:cubicBezTo>
                  <a:pt x="241" y="799"/>
                  <a:pt x="241" y="799"/>
                  <a:pt x="241" y="799"/>
                </a:cubicBezTo>
                <a:cubicBezTo>
                  <a:pt x="960" y="799"/>
                  <a:pt x="960" y="799"/>
                  <a:pt x="960" y="799"/>
                </a:cubicBezTo>
                <a:cubicBezTo>
                  <a:pt x="960" y="719"/>
                  <a:pt x="960" y="719"/>
                  <a:pt x="960" y="719"/>
                </a:cubicBezTo>
                <a:lnTo>
                  <a:pt x="241" y="719"/>
                </a:lnTo>
                <a:close/>
                <a:moveTo>
                  <a:pt x="241" y="960"/>
                </a:moveTo>
                <a:cubicBezTo>
                  <a:pt x="241" y="1040"/>
                  <a:pt x="241" y="1040"/>
                  <a:pt x="241" y="1040"/>
                </a:cubicBezTo>
                <a:cubicBezTo>
                  <a:pt x="720" y="1040"/>
                  <a:pt x="720" y="1040"/>
                  <a:pt x="720" y="1040"/>
                </a:cubicBezTo>
                <a:cubicBezTo>
                  <a:pt x="720" y="960"/>
                  <a:pt x="720" y="960"/>
                  <a:pt x="720" y="960"/>
                </a:cubicBezTo>
                <a:lnTo>
                  <a:pt x="241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 bwMode="gray">
          <a:xfrm>
            <a:off x="9069041" y="6385566"/>
            <a:ext cx="14536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gnificant verschillend van de totale steekproef</a:t>
            </a:r>
          </a:p>
        </p:txBody>
      </p:sp>
    </p:spTree>
    <p:extLst>
      <p:ext uri="{BB962C8B-B14F-4D97-AF65-F5344CB8AC3E}">
        <p14:creationId xmlns:p14="http://schemas.microsoft.com/office/powerpoint/2010/main" val="1323519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4088" y="144556"/>
            <a:ext cx="2052631" cy="2739600"/>
          </a:xfrm>
          <a:prstGeom prst="rect">
            <a:avLst/>
          </a:prstGeom>
        </p:spPr>
      </p:pic>
      <p:sp>
        <p:nvSpPr>
          <p:cNvPr id="62" name="Rounded Rectangle 61"/>
          <p:cNvSpPr/>
          <p:nvPr/>
        </p:nvSpPr>
        <p:spPr bwMode="gray">
          <a:xfrm>
            <a:off x="6966340" y="1671712"/>
            <a:ext cx="4589217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3" name="Rounded Rectangle 62"/>
          <p:cNvSpPr/>
          <p:nvPr/>
        </p:nvSpPr>
        <p:spPr bwMode="gray">
          <a:xfrm>
            <a:off x="919532" y="1671711"/>
            <a:ext cx="5923396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1280540" y="2396886"/>
            <a:ext cx="497203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nnen en vrouwen die voornamelijk </a:t>
            </a:r>
            <a:b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laander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wonen e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onger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zijn</a:t>
            </a:r>
          </a:p>
        </p:txBody>
      </p:sp>
      <p:sp>
        <p:nvSpPr>
          <p:cNvPr id="48" name="TextBox 47"/>
          <p:cNvSpPr txBox="1"/>
          <p:nvPr/>
        </p:nvSpPr>
        <p:spPr bwMode="gray">
          <a:xfrm>
            <a:off x="3929350" y="1000906"/>
            <a:ext cx="593125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2642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Maak hen bewust van de gevaren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18" name="Parallelogram 17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635"/>
            <a:stretch/>
          </p:blipFill>
          <p:spPr>
            <a:xfrm rot="2367436">
              <a:off x="441856" y="152573"/>
              <a:ext cx="187217" cy="266720"/>
            </a:xfrm>
            <a:prstGeom prst="rect">
              <a:avLst/>
            </a:prstGeom>
          </p:spPr>
        </p:pic>
        <p:sp>
          <p:nvSpPr>
            <p:cNvPr id="21" name="Freeform 11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77179" y="400520"/>
              <a:ext cx="149163" cy="173812"/>
            </a:xfrm>
            <a:custGeom>
              <a:avLst/>
              <a:gdLst>
                <a:gd name="T0" fmla="*/ 68 w 1693"/>
                <a:gd name="T1" fmla="*/ 1211 h 1973"/>
                <a:gd name="T2" fmla="*/ 8 w 1693"/>
                <a:gd name="T3" fmla="*/ 900 h 1973"/>
                <a:gd name="T4" fmla="*/ 108 w 1693"/>
                <a:gd name="T5" fmla="*/ 558 h 1973"/>
                <a:gd name="T6" fmla="*/ 340 w 1693"/>
                <a:gd name="T7" fmla="*/ 409 h 1973"/>
                <a:gd name="T8" fmla="*/ 680 w 1693"/>
                <a:gd name="T9" fmla="*/ 705 h 1973"/>
                <a:gd name="T10" fmla="*/ 694 w 1693"/>
                <a:gd name="T11" fmla="*/ 1022 h 1973"/>
                <a:gd name="T12" fmla="*/ 704 w 1693"/>
                <a:gd name="T13" fmla="*/ 1334 h 1973"/>
                <a:gd name="T14" fmla="*/ 711 w 1693"/>
                <a:gd name="T15" fmla="*/ 1369 h 1973"/>
                <a:gd name="T16" fmla="*/ 204 w 1693"/>
                <a:gd name="T17" fmla="*/ 1528 h 1973"/>
                <a:gd name="T18" fmla="*/ 188 w 1693"/>
                <a:gd name="T19" fmla="*/ 1496 h 1973"/>
                <a:gd name="T20" fmla="*/ 68 w 1693"/>
                <a:gd name="T21" fmla="*/ 1211 h 1973"/>
                <a:gd name="T22" fmla="*/ 709 w 1693"/>
                <a:gd name="T23" fmla="*/ 1480 h 1973"/>
                <a:gd name="T24" fmla="*/ 738 w 1693"/>
                <a:gd name="T25" fmla="*/ 1558 h 1973"/>
                <a:gd name="T26" fmla="*/ 610 w 1693"/>
                <a:gd name="T27" fmla="*/ 1929 h 1973"/>
                <a:gd name="T28" fmla="*/ 557 w 1693"/>
                <a:gd name="T29" fmla="*/ 1945 h 1973"/>
                <a:gd name="T30" fmla="*/ 247 w 1693"/>
                <a:gd name="T31" fmla="*/ 1712 h 1973"/>
                <a:gd name="T32" fmla="*/ 230 w 1693"/>
                <a:gd name="T33" fmla="*/ 1636 h 1973"/>
                <a:gd name="T34" fmla="*/ 709 w 1693"/>
                <a:gd name="T35" fmla="*/ 1480 h 1973"/>
                <a:gd name="T36" fmla="*/ 1685 w 1693"/>
                <a:gd name="T37" fmla="*/ 501 h 1973"/>
                <a:gd name="T38" fmla="*/ 1625 w 1693"/>
                <a:gd name="T39" fmla="*/ 813 h 1973"/>
                <a:gd name="T40" fmla="*/ 1504 w 1693"/>
                <a:gd name="T41" fmla="*/ 1098 h 1973"/>
                <a:gd name="T42" fmla="*/ 1489 w 1693"/>
                <a:gd name="T43" fmla="*/ 1129 h 1973"/>
                <a:gd name="T44" fmla="*/ 982 w 1693"/>
                <a:gd name="T45" fmla="*/ 970 h 1973"/>
                <a:gd name="T46" fmla="*/ 989 w 1693"/>
                <a:gd name="T47" fmla="*/ 935 h 1973"/>
                <a:gd name="T48" fmla="*/ 999 w 1693"/>
                <a:gd name="T49" fmla="*/ 624 h 1973"/>
                <a:gd name="T50" fmla="*/ 1013 w 1693"/>
                <a:gd name="T51" fmla="*/ 307 h 1973"/>
                <a:gd name="T52" fmla="*/ 1352 w 1693"/>
                <a:gd name="T53" fmla="*/ 10 h 1973"/>
                <a:gd name="T54" fmla="*/ 1584 w 1693"/>
                <a:gd name="T55" fmla="*/ 159 h 1973"/>
                <a:gd name="T56" fmla="*/ 1685 w 1693"/>
                <a:gd name="T57" fmla="*/ 501 h 1973"/>
                <a:gd name="T58" fmla="*/ 1463 w 1693"/>
                <a:gd name="T59" fmla="*/ 1238 h 1973"/>
                <a:gd name="T60" fmla="*/ 1456 w 1693"/>
                <a:gd name="T61" fmla="*/ 1272 h 1973"/>
                <a:gd name="T62" fmla="*/ 1446 w 1693"/>
                <a:gd name="T63" fmla="*/ 1314 h 1973"/>
                <a:gd name="T64" fmla="*/ 1136 w 1693"/>
                <a:gd name="T65" fmla="*/ 1546 h 1973"/>
                <a:gd name="T66" fmla="*/ 1105 w 1693"/>
                <a:gd name="T67" fmla="*/ 1539 h 1973"/>
                <a:gd name="T68" fmla="*/ 1082 w 1693"/>
                <a:gd name="T69" fmla="*/ 1531 h 1973"/>
                <a:gd name="T70" fmla="*/ 954 w 1693"/>
                <a:gd name="T71" fmla="*/ 1160 h 1973"/>
                <a:gd name="T72" fmla="*/ 970 w 1693"/>
                <a:gd name="T73" fmla="*/ 1117 h 1973"/>
                <a:gd name="T74" fmla="*/ 984 w 1693"/>
                <a:gd name="T75" fmla="*/ 1082 h 1973"/>
                <a:gd name="T76" fmla="*/ 1463 w 1693"/>
                <a:gd name="T77" fmla="*/ 1238 h 1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3" h="1973">
                  <a:moveTo>
                    <a:pt x="68" y="1211"/>
                  </a:moveTo>
                  <a:cubicBezTo>
                    <a:pt x="36" y="1116"/>
                    <a:pt x="16" y="1018"/>
                    <a:pt x="8" y="900"/>
                  </a:cubicBezTo>
                  <a:cubicBezTo>
                    <a:pt x="0" y="783"/>
                    <a:pt x="40" y="653"/>
                    <a:pt x="108" y="558"/>
                  </a:cubicBezTo>
                  <a:cubicBezTo>
                    <a:pt x="163" y="481"/>
                    <a:pt x="243" y="416"/>
                    <a:pt x="340" y="409"/>
                  </a:cubicBezTo>
                  <a:cubicBezTo>
                    <a:pt x="504" y="398"/>
                    <a:pt x="640" y="560"/>
                    <a:pt x="680" y="705"/>
                  </a:cubicBezTo>
                  <a:cubicBezTo>
                    <a:pt x="709" y="810"/>
                    <a:pt x="703" y="915"/>
                    <a:pt x="694" y="1022"/>
                  </a:cubicBezTo>
                  <a:cubicBezTo>
                    <a:pt x="682" y="1148"/>
                    <a:pt x="678" y="1199"/>
                    <a:pt x="704" y="1334"/>
                  </a:cubicBezTo>
                  <a:cubicBezTo>
                    <a:pt x="711" y="1369"/>
                    <a:pt x="711" y="1369"/>
                    <a:pt x="711" y="1369"/>
                  </a:cubicBezTo>
                  <a:cubicBezTo>
                    <a:pt x="542" y="1422"/>
                    <a:pt x="373" y="1474"/>
                    <a:pt x="204" y="1528"/>
                  </a:cubicBezTo>
                  <a:cubicBezTo>
                    <a:pt x="188" y="1496"/>
                    <a:pt x="188" y="1496"/>
                    <a:pt x="188" y="1496"/>
                  </a:cubicBezTo>
                  <a:cubicBezTo>
                    <a:pt x="139" y="1396"/>
                    <a:pt x="98" y="1306"/>
                    <a:pt x="68" y="1211"/>
                  </a:cubicBezTo>
                  <a:close/>
                  <a:moveTo>
                    <a:pt x="709" y="1480"/>
                  </a:moveTo>
                  <a:cubicBezTo>
                    <a:pt x="720" y="1506"/>
                    <a:pt x="730" y="1532"/>
                    <a:pt x="738" y="1558"/>
                  </a:cubicBezTo>
                  <a:cubicBezTo>
                    <a:pt x="782" y="1701"/>
                    <a:pt x="767" y="1867"/>
                    <a:pt x="610" y="1929"/>
                  </a:cubicBezTo>
                  <a:cubicBezTo>
                    <a:pt x="593" y="1936"/>
                    <a:pt x="575" y="1941"/>
                    <a:pt x="557" y="1945"/>
                  </a:cubicBezTo>
                  <a:cubicBezTo>
                    <a:pt x="402" y="1973"/>
                    <a:pt x="288" y="1849"/>
                    <a:pt x="247" y="1712"/>
                  </a:cubicBezTo>
                  <a:cubicBezTo>
                    <a:pt x="239" y="1687"/>
                    <a:pt x="235" y="1662"/>
                    <a:pt x="230" y="1636"/>
                  </a:cubicBezTo>
                  <a:lnTo>
                    <a:pt x="709" y="1480"/>
                  </a:lnTo>
                  <a:close/>
                  <a:moveTo>
                    <a:pt x="1685" y="501"/>
                  </a:moveTo>
                  <a:cubicBezTo>
                    <a:pt x="1677" y="619"/>
                    <a:pt x="1656" y="718"/>
                    <a:pt x="1625" y="813"/>
                  </a:cubicBezTo>
                  <a:cubicBezTo>
                    <a:pt x="1594" y="908"/>
                    <a:pt x="1553" y="997"/>
                    <a:pt x="1504" y="1098"/>
                  </a:cubicBezTo>
                  <a:cubicBezTo>
                    <a:pt x="1489" y="1129"/>
                    <a:pt x="1489" y="1129"/>
                    <a:pt x="1489" y="1129"/>
                  </a:cubicBezTo>
                  <a:cubicBezTo>
                    <a:pt x="982" y="970"/>
                    <a:pt x="982" y="970"/>
                    <a:pt x="982" y="970"/>
                  </a:cubicBezTo>
                  <a:cubicBezTo>
                    <a:pt x="989" y="935"/>
                    <a:pt x="989" y="935"/>
                    <a:pt x="989" y="935"/>
                  </a:cubicBezTo>
                  <a:cubicBezTo>
                    <a:pt x="1015" y="801"/>
                    <a:pt x="1011" y="750"/>
                    <a:pt x="999" y="624"/>
                  </a:cubicBezTo>
                  <a:cubicBezTo>
                    <a:pt x="990" y="517"/>
                    <a:pt x="984" y="412"/>
                    <a:pt x="1013" y="307"/>
                  </a:cubicBezTo>
                  <a:cubicBezTo>
                    <a:pt x="1053" y="162"/>
                    <a:pt x="1189" y="0"/>
                    <a:pt x="1352" y="10"/>
                  </a:cubicBezTo>
                  <a:cubicBezTo>
                    <a:pt x="1450" y="17"/>
                    <a:pt x="1530" y="83"/>
                    <a:pt x="1584" y="159"/>
                  </a:cubicBezTo>
                  <a:cubicBezTo>
                    <a:pt x="1652" y="255"/>
                    <a:pt x="1693" y="385"/>
                    <a:pt x="1685" y="501"/>
                  </a:cubicBezTo>
                  <a:close/>
                  <a:moveTo>
                    <a:pt x="1463" y="1238"/>
                  </a:moveTo>
                  <a:cubicBezTo>
                    <a:pt x="1456" y="1272"/>
                    <a:pt x="1456" y="1272"/>
                    <a:pt x="1456" y="1272"/>
                  </a:cubicBezTo>
                  <a:cubicBezTo>
                    <a:pt x="1454" y="1286"/>
                    <a:pt x="1450" y="1300"/>
                    <a:pt x="1446" y="1314"/>
                  </a:cubicBezTo>
                  <a:cubicBezTo>
                    <a:pt x="1404" y="1451"/>
                    <a:pt x="1291" y="1575"/>
                    <a:pt x="1136" y="1546"/>
                  </a:cubicBezTo>
                  <a:cubicBezTo>
                    <a:pt x="1126" y="1544"/>
                    <a:pt x="1115" y="1542"/>
                    <a:pt x="1105" y="1539"/>
                  </a:cubicBezTo>
                  <a:cubicBezTo>
                    <a:pt x="1097" y="1536"/>
                    <a:pt x="1090" y="1534"/>
                    <a:pt x="1082" y="1531"/>
                  </a:cubicBezTo>
                  <a:cubicBezTo>
                    <a:pt x="895" y="1456"/>
                    <a:pt x="904" y="1323"/>
                    <a:pt x="954" y="1160"/>
                  </a:cubicBezTo>
                  <a:cubicBezTo>
                    <a:pt x="959" y="1146"/>
                    <a:pt x="964" y="1131"/>
                    <a:pt x="970" y="1117"/>
                  </a:cubicBezTo>
                  <a:cubicBezTo>
                    <a:pt x="984" y="1082"/>
                    <a:pt x="984" y="1082"/>
                    <a:pt x="984" y="1082"/>
                  </a:cubicBezTo>
                  <a:lnTo>
                    <a:pt x="1463" y="12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 bwMode="gray">
          <a:xfrm>
            <a:off x="1280540" y="2055882"/>
            <a:ext cx="8280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E?</a:t>
            </a:r>
          </a:p>
        </p:txBody>
      </p:sp>
      <p:sp>
        <p:nvSpPr>
          <p:cNvPr id="12" name="Oval 11"/>
          <p:cNvSpPr/>
          <p:nvPr/>
        </p:nvSpPr>
        <p:spPr bwMode="gray">
          <a:xfrm>
            <a:off x="1895529" y="281583"/>
            <a:ext cx="1920000" cy="192000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4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nl-BE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Social</a:t>
            </a: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trespassers</a:t>
            </a:r>
            <a: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15%</a:t>
            </a:r>
            <a: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endParaRPr lang="nl-BE" sz="2400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pic>
        <p:nvPicPr>
          <p:cNvPr id="50" name="Picture 2" descr="C:\Users\karolien.smets\Pictures\NL_land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4969" y="2298266"/>
            <a:ext cx="576677" cy="19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3" descr="C:\Users\karolien.smets\Pictures\FR_land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2444" y="3205893"/>
            <a:ext cx="528801" cy="287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File:Flag map of Brussels.sv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0269" y="2746114"/>
            <a:ext cx="266076" cy="235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29"/>
          <p:cNvSpPr txBox="1"/>
          <p:nvPr/>
        </p:nvSpPr>
        <p:spPr bwMode="gray">
          <a:xfrm>
            <a:off x="10481413" y="2303200"/>
            <a:ext cx="475698" cy="2154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74%</a:t>
            </a:r>
          </a:p>
        </p:txBody>
      </p:sp>
      <p:sp>
        <p:nvSpPr>
          <p:cNvPr id="54" name="TextBox 29"/>
          <p:cNvSpPr txBox="1"/>
          <p:nvPr/>
        </p:nvSpPr>
        <p:spPr bwMode="gray">
          <a:xfrm>
            <a:off x="10450337" y="2792794"/>
            <a:ext cx="506774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7%</a:t>
            </a:r>
          </a:p>
        </p:txBody>
      </p:sp>
      <p:sp>
        <p:nvSpPr>
          <p:cNvPr id="55" name="TextBox 29"/>
          <p:cNvSpPr txBox="1"/>
          <p:nvPr/>
        </p:nvSpPr>
        <p:spPr bwMode="gray">
          <a:xfrm>
            <a:off x="10455093" y="3235210"/>
            <a:ext cx="506774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19%</a:t>
            </a:r>
          </a:p>
        </p:txBody>
      </p:sp>
      <p:graphicFrame>
        <p:nvGraphicFramePr>
          <p:cNvPr id="40" name="Chart 39"/>
          <p:cNvGraphicFramePr/>
          <p:nvPr>
            <p:extLst/>
          </p:nvPr>
        </p:nvGraphicFramePr>
        <p:xfrm>
          <a:off x="7132160" y="2134448"/>
          <a:ext cx="2424182" cy="1390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8" name="TextBox 57"/>
          <p:cNvSpPr txBox="1"/>
          <p:nvPr/>
        </p:nvSpPr>
        <p:spPr bwMode="gray">
          <a:xfrm>
            <a:off x="1280540" y="3538990"/>
            <a:ext cx="23515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T DOEN ZE?</a:t>
            </a:r>
          </a:p>
        </p:txBody>
      </p:sp>
      <p:sp>
        <p:nvSpPr>
          <p:cNvPr id="61" name="TextBox 60"/>
          <p:cNvSpPr txBox="1"/>
          <p:nvPr/>
        </p:nvSpPr>
        <p:spPr bwMode="gray">
          <a:xfrm>
            <a:off x="1280540" y="5177144"/>
            <a:ext cx="47062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AROM LOPEN ZE OVER DE SPOREN?</a:t>
            </a:r>
          </a:p>
        </p:txBody>
      </p:sp>
      <p:sp>
        <p:nvSpPr>
          <p:cNvPr id="64" name="TextBox 63"/>
          <p:cNvSpPr txBox="1"/>
          <p:nvPr/>
        </p:nvSpPr>
        <p:spPr bwMode="gray">
          <a:xfrm>
            <a:off x="1280540" y="3902780"/>
            <a:ext cx="497203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3%</a:t>
            </a:r>
            <a:r>
              <a:rPr lang="nl-BE" sz="16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eft minstens 1 keer één van de gedragingen die spoorlopen definiëren gesteld in de afgelopen 6 maanden</a:t>
            </a:r>
          </a:p>
        </p:txBody>
      </p:sp>
      <p:sp>
        <p:nvSpPr>
          <p:cNvPr id="65" name="TextBox 64"/>
          <p:cNvSpPr txBox="1"/>
          <p:nvPr/>
        </p:nvSpPr>
        <p:spPr bwMode="gray">
          <a:xfrm>
            <a:off x="1280540" y="5456567"/>
            <a:ext cx="497203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Ze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inden niet dat hun gedrag gevaarlijk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s, zijn ervan overtuigd dat ze de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ren kunnen inschatten, </a:t>
            </a:r>
            <a:b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n doen het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omdat anderen het doen</a:t>
            </a:r>
          </a:p>
        </p:txBody>
      </p:sp>
      <p:sp>
        <p:nvSpPr>
          <p:cNvPr id="66" name="Freeform 3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653754" y="1923759"/>
            <a:ext cx="354052" cy="258657"/>
          </a:xfrm>
          <a:custGeom>
            <a:avLst/>
            <a:gdLst>
              <a:gd name="T0" fmla="*/ 160 w 2080"/>
              <a:gd name="T1" fmla="*/ 0 h 1520"/>
              <a:gd name="T2" fmla="*/ 1920 w 2080"/>
              <a:gd name="T3" fmla="*/ 0 h 1520"/>
              <a:gd name="T4" fmla="*/ 2080 w 2080"/>
              <a:gd name="T5" fmla="*/ 160 h 1520"/>
              <a:gd name="T6" fmla="*/ 2080 w 2080"/>
              <a:gd name="T7" fmla="*/ 1360 h 1520"/>
              <a:gd name="T8" fmla="*/ 1920 w 2080"/>
              <a:gd name="T9" fmla="*/ 1520 h 1520"/>
              <a:gd name="T10" fmla="*/ 160 w 2080"/>
              <a:gd name="T11" fmla="*/ 1520 h 1520"/>
              <a:gd name="T12" fmla="*/ 0 w 2080"/>
              <a:gd name="T13" fmla="*/ 1360 h 1520"/>
              <a:gd name="T14" fmla="*/ 0 w 2080"/>
              <a:gd name="T15" fmla="*/ 160 h 1520"/>
              <a:gd name="T16" fmla="*/ 160 w 2080"/>
              <a:gd name="T17" fmla="*/ 0 h 1520"/>
              <a:gd name="T18" fmla="*/ 1120 w 2080"/>
              <a:gd name="T19" fmla="*/ 320 h 1520"/>
              <a:gd name="T20" fmla="*/ 1120 w 2080"/>
              <a:gd name="T21" fmla="*/ 1360 h 1520"/>
              <a:gd name="T22" fmla="*/ 1920 w 2080"/>
              <a:gd name="T23" fmla="*/ 1360 h 1520"/>
              <a:gd name="T24" fmla="*/ 1920 w 2080"/>
              <a:gd name="T25" fmla="*/ 320 h 1520"/>
              <a:gd name="T26" fmla="*/ 1120 w 2080"/>
              <a:gd name="T27" fmla="*/ 320 h 1520"/>
              <a:gd name="T28" fmla="*/ 1840 w 2080"/>
              <a:gd name="T29" fmla="*/ 400 h 1520"/>
              <a:gd name="T30" fmla="*/ 1840 w 2080"/>
              <a:gd name="T31" fmla="*/ 1200 h 1520"/>
              <a:gd name="T32" fmla="*/ 1816 w 2080"/>
              <a:gd name="T33" fmla="*/ 1170 h 1520"/>
              <a:gd name="T34" fmla="*/ 1750 w 2080"/>
              <a:gd name="T35" fmla="*/ 1136 h 1520"/>
              <a:gd name="T36" fmla="*/ 1660 w 2080"/>
              <a:gd name="T37" fmla="*/ 1102 h 1520"/>
              <a:gd name="T38" fmla="*/ 1625 w 2080"/>
              <a:gd name="T39" fmla="*/ 996 h 1520"/>
              <a:gd name="T40" fmla="*/ 1689 w 2080"/>
              <a:gd name="T41" fmla="*/ 871 h 1520"/>
              <a:gd name="T42" fmla="*/ 1724 w 2080"/>
              <a:gd name="T43" fmla="*/ 779 h 1520"/>
              <a:gd name="T44" fmla="*/ 1731 w 2080"/>
              <a:gd name="T45" fmla="*/ 671 h 1520"/>
              <a:gd name="T46" fmla="*/ 1568 w 2080"/>
              <a:gd name="T47" fmla="*/ 545 h 1520"/>
              <a:gd name="T48" fmla="*/ 1511 w 2080"/>
              <a:gd name="T49" fmla="*/ 521 h 1520"/>
              <a:gd name="T50" fmla="*/ 1309 w 2080"/>
              <a:gd name="T51" fmla="*/ 672 h 1520"/>
              <a:gd name="T52" fmla="*/ 1316 w 2080"/>
              <a:gd name="T53" fmla="*/ 779 h 1520"/>
              <a:gd name="T54" fmla="*/ 1351 w 2080"/>
              <a:gd name="T55" fmla="*/ 871 h 1520"/>
              <a:gd name="T56" fmla="*/ 1415 w 2080"/>
              <a:gd name="T57" fmla="*/ 996 h 1520"/>
              <a:gd name="T58" fmla="*/ 1380 w 2080"/>
              <a:gd name="T59" fmla="*/ 1102 h 1520"/>
              <a:gd name="T60" fmla="*/ 1290 w 2080"/>
              <a:gd name="T61" fmla="*/ 1136 h 1520"/>
              <a:gd name="T62" fmla="*/ 1224 w 2080"/>
              <a:gd name="T63" fmla="*/ 1170 h 1520"/>
              <a:gd name="T64" fmla="*/ 1200 w 2080"/>
              <a:gd name="T65" fmla="*/ 1200 h 1520"/>
              <a:gd name="T66" fmla="*/ 1200 w 2080"/>
              <a:gd name="T67" fmla="*/ 400 h 1520"/>
              <a:gd name="T68" fmla="*/ 1840 w 2080"/>
              <a:gd name="T69" fmla="*/ 400 h 1520"/>
              <a:gd name="T70" fmla="*/ 240 w 2080"/>
              <a:gd name="T71" fmla="*/ 480 h 1520"/>
              <a:gd name="T72" fmla="*/ 240 w 2080"/>
              <a:gd name="T73" fmla="*/ 560 h 1520"/>
              <a:gd name="T74" fmla="*/ 959 w 2080"/>
              <a:gd name="T75" fmla="*/ 560 h 1520"/>
              <a:gd name="T76" fmla="*/ 959 w 2080"/>
              <a:gd name="T77" fmla="*/ 480 h 1520"/>
              <a:gd name="T78" fmla="*/ 240 w 2080"/>
              <a:gd name="T79" fmla="*/ 480 h 1520"/>
              <a:gd name="T80" fmla="*/ 241 w 2080"/>
              <a:gd name="T81" fmla="*/ 719 h 1520"/>
              <a:gd name="T82" fmla="*/ 241 w 2080"/>
              <a:gd name="T83" fmla="*/ 799 h 1520"/>
              <a:gd name="T84" fmla="*/ 960 w 2080"/>
              <a:gd name="T85" fmla="*/ 799 h 1520"/>
              <a:gd name="T86" fmla="*/ 960 w 2080"/>
              <a:gd name="T87" fmla="*/ 719 h 1520"/>
              <a:gd name="T88" fmla="*/ 241 w 2080"/>
              <a:gd name="T89" fmla="*/ 719 h 1520"/>
              <a:gd name="T90" fmla="*/ 241 w 2080"/>
              <a:gd name="T91" fmla="*/ 960 h 1520"/>
              <a:gd name="T92" fmla="*/ 241 w 2080"/>
              <a:gd name="T93" fmla="*/ 1040 h 1520"/>
              <a:gd name="T94" fmla="*/ 720 w 2080"/>
              <a:gd name="T95" fmla="*/ 1040 h 1520"/>
              <a:gd name="T96" fmla="*/ 720 w 2080"/>
              <a:gd name="T97" fmla="*/ 960 h 1520"/>
              <a:gd name="T98" fmla="*/ 241 w 2080"/>
              <a:gd name="T99" fmla="*/ 96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520">
                <a:moveTo>
                  <a:pt x="160" y="0"/>
                </a:moveTo>
                <a:cubicBezTo>
                  <a:pt x="1920" y="0"/>
                  <a:pt x="1920" y="0"/>
                  <a:pt x="1920" y="0"/>
                </a:cubicBezTo>
                <a:cubicBezTo>
                  <a:pt x="2008" y="0"/>
                  <a:pt x="2080" y="72"/>
                  <a:pt x="2080" y="160"/>
                </a:cubicBezTo>
                <a:cubicBezTo>
                  <a:pt x="2080" y="1360"/>
                  <a:pt x="2080" y="1360"/>
                  <a:pt x="2080" y="1360"/>
                </a:cubicBezTo>
                <a:cubicBezTo>
                  <a:pt x="2080" y="1448"/>
                  <a:pt x="2008" y="1520"/>
                  <a:pt x="1920" y="1520"/>
                </a:cubicBezTo>
                <a:cubicBezTo>
                  <a:pt x="160" y="1520"/>
                  <a:pt x="160" y="1520"/>
                  <a:pt x="160" y="1520"/>
                </a:cubicBezTo>
                <a:cubicBezTo>
                  <a:pt x="72" y="1520"/>
                  <a:pt x="0" y="1448"/>
                  <a:pt x="0" y="13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72"/>
                  <a:pt x="72" y="0"/>
                  <a:pt x="160" y="0"/>
                </a:cubicBezTo>
                <a:close/>
                <a:moveTo>
                  <a:pt x="1120" y="320"/>
                </a:moveTo>
                <a:cubicBezTo>
                  <a:pt x="1120" y="1360"/>
                  <a:pt x="1120" y="1360"/>
                  <a:pt x="1120" y="1360"/>
                </a:cubicBezTo>
                <a:cubicBezTo>
                  <a:pt x="1920" y="1360"/>
                  <a:pt x="1920" y="1360"/>
                  <a:pt x="1920" y="1360"/>
                </a:cubicBezTo>
                <a:cubicBezTo>
                  <a:pt x="1920" y="320"/>
                  <a:pt x="1920" y="320"/>
                  <a:pt x="1920" y="320"/>
                </a:cubicBezTo>
                <a:lnTo>
                  <a:pt x="1120" y="320"/>
                </a:lnTo>
                <a:close/>
                <a:moveTo>
                  <a:pt x="1840" y="400"/>
                </a:moveTo>
                <a:cubicBezTo>
                  <a:pt x="1840" y="1200"/>
                  <a:pt x="1840" y="1200"/>
                  <a:pt x="1840" y="1200"/>
                </a:cubicBezTo>
                <a:cubicBezTo>
                  <a:pt x="1833" y="1189"/>
                  <a:pt x="1825" y="1178"/>
                  <a:pt x="1816" y="1170"/>
                </a:cubicBezTo>
                <a:cubicBezTo>
                  <a:pt x="1799" y="1154"/>
                  <a:pt x="1772" y="1144"/>
                  <a:pt x="1750" y="1136"/>
                </a:cubicBezTo>
                <a:cubicBezTo>
                  <a:pt x="1714" y="1123"/>
                  <a:pt x="1693" y="1122"/>
                  <a:pt x="1660" y="1102"/>
                </a:cubicBezTo>
                <a:cubicBezTo>
                  <a:pt x="1628" y="1083"/>
                  <a:pt x="1626" y="1029"/>
                  <a:pt x="1625" y="996"/>
                </a:cubicBezTo>
                <a:cubicBezTo>
                  <a:pt x="1654" y="968"/>
                  <a:pt x="1679" y="908"/>
                  <a:pt x="1689" y="871"/>
                </a:cubicBezTo>
                <a:cubicBezTo>
                  <a:pt x="1722" y="855"/>
                  <a:pt x="1734" y="813"/>
                  <a:pt x="1724" y="779"/>
                </a:cubicBezTo>
                <a:cubicBezTo>
                  <a:pt x="1731" y="671"/>
                  <a:pt x="1731" y="671"/>
                  <a:pt x="1731" y="671"/>
                </a:cubicBezTo>
                <a:cubicBezTo>
                  <a:pt x="1738" y="594"/>
                  <a:pt x="1645" y="507"/>
                  <a:pt x="1568" y="545"/>
                </a:cubicBezTo>
                <a:cubicBezTo>
                  <a:pt x="1548" y="532"/>
                  <a:pt x="1536" y="525"/>
                  <a:pt x="1511" y="521"/>
                </a:cubicBezTo>
                <a:cubicBezTo>
                  <a:pt x="1413" y="505"/>
                  <a:pt x="1307" y="564"/>
                  <a:pt x="1309" y="672"/>
                </a:cubicBezTo>
                <a:cubicBezTo>
                  <a:pt x="1316" y="779"/>
                  <a:pt x="1316" y="779"/>
                  <a:pt x="1316" y="779"/>
                </a:cubicBezTo>
                <a:cubicBezTo>
                  <a:pt x="1306" y="812"/>
                  <a:pt x="1318" y="855"/>
                  <a:pt x="1351" y="871"/>
                </a:cubicBezTo>
                <a:cubicBezTo>
                  <a:pt x="1361" y="909"/>
                  <a:pt x="1387" y="969"/>
                  <a:pt x="1415" y="996"/>
                </a:cubicBezTo>
                <a:cubicBezTo>
                  <a:pt x="1415" y="1028"/>
                  <a:pt x="1410" y="1084"/>
                  <a:pt x="1380" y="1102"/>
                </a:cubicBezTo>
                <a:cubicBezTo>
                  <a:pt x="1347" y="1122"/>
                  <a:pt x="1326" y="1123"/>
                  <a:pt x="1290" y="1136"/>
                </a:cubicBezTo>
                <a:cubicBezTo>
                  <a:pt x="1268" y="1144"/>
                  <a:pt x="1241" y="1154"/>
                  <a:pt x="1224" y="1170"/>
                </a:cubicBezTo>
                <a:cubicBezTo>
                  <a:pt x="1215" y="1178"/>
                  <a:pt x="1207" y="1189"/>
                  <a:pt x="1200" y="1200"/>
                </a:cubicBezTo>
                <a:cubicBezTo>
                  <a:pt x="1200" y="400"/>
                  <a:pt x="1200" y="400"/>
                  <a:pt x="1200" y="400"/>
                </a:cubicBezTo>
                <a:lnTo>
                  <a:pt x="1840" y="400"/>
                </a:lnTo>
                <a:close/>
                <a:moveTo>
                  <a:pt x="240" y="480"/>
                </a:moveTo>
                <a:cubicBezTo>
                  <a:pt x="240" y="560"/>
                  <a:pt x="240" y="560"/>
                  <a:pt x="240" y="560"/>
                </a:cubicBezTo>
                <a:cubicBezTo>
                  <a:pt x="959" y="560"/>
                  <a:pt x="959" y="560"/>
                  <a:pt x="959" y="560"/>
                </a:cubicBezTo>
                <a:cubicBezTo>
                  <a:pt x="959" y="480"/>
                  <a:pt x="959" y="480"/>
                  <a:pt x="959" y="480"/>
                </a:cubicBezTo>
                <a:lnTo>
                  <a:pt x="240" y="480"/>
                </a:lnTo>
                <a:close/>
                <a:moveTo>
                  <a:pt x="241" y="719"/>
                </a:moveTo>
                <a:cubicBezTo>
                  <a:pt x="241" y="799"/>
                  <a:pt x="241" y="799"/>
                  <a:pt x="241" y="799"/>
                </a:cubicBezTo>
                <a:cubicBezTo>
                  <a:pt x="960" y="799"/>
                  <a:pt x="960" y="799"/>
                  <a:pt x="960" y="799"/>
                </a:cubicBezTo>
                <a:cubicBezTo>
                  <a:pt x="960" y="719"/>
                  <a:pt x="960" y="719"/>
                  <a:pt x="960" y="719"/>
                </a:cubicBezTo>
                <a:lnTo>
                  <a:pt x="241" y="719"/>
                </a:lnTo>
                <a:close/>
                <a:moveTo>
                  <a:pt x="241" y="960"/>
                </a:moveTo>
                <a:cubicBezTo>
                  <a:pt x="241" y="1040"/>
                  <a:pt x="241" y="1040"/>
                  <a:pt x="241" y="1040"/>
                </a:cubicBezTo>
                <a:cubicBezTo>
                  <a:pt x="720" y="1040"/>
                  <a:pt x="720" y="1040"/>
                  <a:pt x="720" y="1040"/>
                </a:cubicBezTo>
                <a:cubicBezTo>
                  <a:pt x="720" y="960"/>
                  <a:pt x="720" y="960"/>
                  <a:pt x="720" y="960"/>
                </a:cubicBezTo>
                <a:lnTo>
                  <a:pt x="241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 bwMode="gray">
          <a:xfrm>
            <a:off x="7929708" y="191732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eftijd</a:t>
            </a:r>
          </a:p>
        </p:txBody>
      </p:sp>
      <p:sp>
        <p:nvSpPr>
          <p:cNvPr id="68" name="TextBox 67"/>
          <p:cNvSpPr txBox="1"/>
          <p:nvPr/>
        </p:nvSpPr>
        <p:spPr bwMode="gray">
          <a:xfrm>
            <a:off x="9711208" y="192258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gio</a:t>
            </a:r>
          </a:p>
        </p:txBody>
      </p:sp>
      <p:cxnSp>
        <p:nvCxnSpPr>
          <p:cNvPr id="70" name="Straight Connector 69"/>
          <p:cNvCxnSpPr/>
          <p:nvPr/>
        </p:nvCxnSpPr>
        <p:spPr>
          <a:xfrm flipV="1">
            <a:off x="8895862" y="4055888"/>
            <a:ext cx="90000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 bwMode="gray">
          <a:xfrm>
            <a:off x="9984432" y="4122442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3%</a:t>
            </a:r>
          </a:p>
        </p:txBody>
      </p:sp>
      <p:sp>
        <p:nvSpPr>
          <p:cNvPr id="72" name="TextBox 71"/>
          <p:cNvSpPr txBox="1"/>
          <p:nvPr/>
        </p:nvSpPr>
        <p:spPr bwMode="gray">
          <a:xfrm>
            <a:off x="8261648" y="4141790"/>
            <a:ext cx="223639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ndelen naast de sporen</a:t>
            </a:r>
          </a:p>
        </p:txBody>
      </p:sp>
      <p:sp>
        <p:nvSpPr>
          <p:cNvPr id="73" name="TextBox 72"/>
          <p:cNvSpPr txBox="1"/>
          <p:nvPr/>
        </p:nvSpPr>
        <p:spPr bwMode="gray">
          <a:xfrm>
            <a:off x="10008073" y="4500392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9%</a:t>
            </a:r>
          </a:p>
        </p:txBody>
      </p:sp>
      <p:sp>
        <p:nvSpPr>
          <p:cNvPr id="74" name="Freeform 17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097251" y="4926674"/>
            <a:ext cx="282524" cy="271600"/>
          </a:xfrm>
          <a:custGeom>
            <a:avLst/>
            <a:gdLst>
              <a:gd name="T0" fmla="*/ 1040 w 2080"/>
              <a:gd name="T1" fmla="*/ 2000 h 2000"/>
              <a:gd name="T2" fmla="*/ 480 w 2080"/>
              <a:gd name="T3" fmla="*/ 1825 h 2000"/>
              <a:gd name="T4" fmla="*/ 574 w 2080"/>
              <a:gd name="T5" fmla="*/ 1591 h 2000"/>
              <a:gd name="T6" fmla="*/ 809 w 2080"/>
              <a:gd name="T7" fmla="*/ 1485 h 2000"/>
              <a:gd name="T8" fmla="*/ 820 w 2080"/>
              <a:gd name="T9" fmla="*/ 1401 h 2000"/>
              <a:gd name="T10" fmla="*/ 756 w 2080"/>
              <a:gd name="T11" fmla="*/ 1232 h 2000"/>
              <a:gd name="T12" fmla="*/ 697 w 2080"/>
              <a:gd name="T13" fmla="*/ 1067 h 2000"/>
              <a:gd name="T14" fmla="*/ 698 w 2080"/>
              <a:gd name="T15" fmla="*/ 810 h 2000"/>
              <a:gd name="T16" fmla="*/ 1076 w 2080"/>
              <a:gd name="T17" fmla="*/ 622 h 2000"/>
              <a:gd name="T18" fmla="*/ 1382 w 2080"/>
              <a:gd name="T19" fmla="*/ 1067 h 2000"/>
              <a:gd name="T20" fmla="*/ 1323 w 2080"/>
              <a:gd name="T21" fmla="*/ 1233 h 2000"/>
              <a:gd name="T22" fmla="*/ 1260 w 2080"/>
              <a:gd name="T23" fmla="*/ 1406 h 2000"/>
              <a:gd name="T24" fmla="*/ 1269 w 2080"/>
              <a:gd name="T25" fmla="*/ 1484 h 2000"/>
              <a:gd name="T26" fmla="*/ 1505 w 2080"/>
              <a:gd name="T27" fmla="*/ 1591 h 2000"/>
              <a:gd name="T28" fmla="*/ 1600 w 2080"/>
              <a:gd name="T29" fmla="*/ 1825 h 2000"/>
              <a:gd name="T30" fmla="*/ 745 w 2080"/>
              <a:gd name="T31" fmla="*/ 334 h 2000"/>
              <a:gd name="T32" fmla="*/ 798 w 2080"/>
              <a:gd name="T33" fmla="*/ 130 h 2000"/>
              <a:gd name="T34" fmla="*/ 1281 w 2080"/>
              <a:gd name="T35" fmla="*/ 130 h 2000"/>
              <a:gd name="T36" fmla="*/ 1334 w 2080"/>
              <a:gd name="T37" fmla="*/ 339 h 2000"/>
              <a:gd name="T38" fmla="*/ 1188 w 2080"/>
              <a:gd name="T39" fmla="*/ 551 h 2000"/>
              <a:gd name="T40" fmla="*/ 1080 w 2080"/>
              <a:gd name="T41" fmla="*/ 542 h 2000"/>
              <a:gd name="T42" fmla="*/ 841 w 2080"/>
              <a:gd name="T43" fmla="*/ 428 h 2000"/>
              <a:gd name="T44" fmla="*/ 1264 w 2080"/>
              <a:gd name="T45" fmla="*/ 588 h 2000"/>
              <a:gd name="T46" fmla="*/ 1358 w 2080"/>
              <a:gd name="T47" fmla="*/ 418 h 2000"/>
              <a:gd name="T48" fmla="*/ 1574 w 2080"/>
              <a:gd name="T49" fmla="*/ 369 h 2000"/>
              <a:gd name="T50" fmla="*/ 1647 w 2080"/>
              <a:gd name="T51" fmla="*/ 395 h 2000"/>
              <a:gd name="T52" fmla="*/ 1809 w 2080"/>
              <a:gd name="T53" fmla="*/ 429 h 2000"/>
              <a:gd name="T54" fmla="*/ 1896 w 2080"/>
              <a:gd name="T55" fmla="*/ 606 h 2000"/>
              <a:gd name="T56" fmla="*/ 1835 w 2080"/>
              <a:gd name="T57" fmla="*/ 893 h 2000"/>
              <a:gd name="T58" fmla="*/ 1758 w 2080"/>
              <a:gd name="T59" fmla="*/ 1046 h 2000"/>
              <a:gd name="T60" fmla="*/ 1784 w 2080"/>
              <a:gd name="T61" fmla="*/ 1135 h 2000"/>
              <a:gd name="T62" fmla="*/ 1852 w 2080"/>
              <a:gd name="T63" fmla="*/ 1163 h 2000"/>
              <a:gd name="T64" fmla="*/ 2057 w 2080"/>
              <a:gd name="T65" fmla="*/ 1325 h 2000"/>
              <a:gd name="T66" fmla="*/ 1928 w 2080"/>
              <a:gd name="T67" fmla="*/ 1563 h 2000"/>
              <a:gd name="T68" fmla="*/ 1561 w 2080"/>
              <a:gd name="T69" fmla="*/ 1533 h 2000"/>
              <a:gd name="T70" fmla="*/ 1326 w 2080"/>
              <a:gd name="T71" fmla="*/ 1425 h 2000"/>
              <a:gd name="T72" fmla="*/ 1464 w 2080"/>
              <a:gd name="T73" fmla="*/ 1069 h 2000"/>
              <a:gd name="T74" fmla="*/ 1264 w 2080"/>
              <a:gd name="T75" fmla="*/ 588 h 2000"/>
              <a:gd name="T76" fmla="*/ 500 w 2080"/>
              <a:gd name="T77" fmla="*/ 389 h 2000"/>
              <a:gd name="T78" fmla="*/ 774 w 2080"/>
              <a:gd name="T79" fmla="*/ 472 h 2000"/>
              <a:gd name="T80" fmla="*/ 623 w 2080"/>
              <a:gd name="T81" fmla="*/ 782 h 2000"/>
              <a:gd name="T82" fmla="*/ 616 w 2080"/>
              <a:gd name="T83" fmla="*/ 1070 h 2000"/>
              <a:gd name="T84" fmla="*/ 753 w 2080"/>
              <a:gd name="T85" fmla="*/ 1425 h 2000"/>
              <a:gd name="T86" fmla="*/ 518 w 2080"/>
              <a:gd name="T87" fmla="*/ 1533 h 2000"/>
              <a:gd name="T88" fmla="*/ 152 w 2080"/>
              <a:gd name="T89" fmla="*/ 1563 h 2000"/>
              <a:gd name="T90" fmla="*/ 22 w 2080"/>
              <a:gd name="T91" fmla="*/ 1325 h 2000"/>
              <a:gd name="T92" fmla="*/ 227 w 2080"/>
              <a:gd name="T93" fmla="*/ 1163 h 2000"/>
              <a:gd name="T94" fmla="*/ 122 w 2080"/>
              <a:gd name="T95" fmla="*/ 1053 h 2000"/>
              <a:gd name="T96" fmla="*/ 123 w 2080"/>
              <a:gd name="T97" fmla="*/ 1007 h 2000"/>
              <a:gd name="T98" fmla="*/ 184 w 2080"/>
              <a:gd name="T99" fmla="*/ 621 h 2000"/>
              <a:gd name="T100" fmla="*/ 433 w 2080"/>
              <a:gd name="T101" fmla="*/ 372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80" h="2000">
                <a:moveTo>
                  <a:pt x="1432" y="1959"/>
                </a:moveTo>
                <a:cubicBezTo>
                  <a:pt x="1310" y="1990"/>
                  <a:pt x="1140" y="2000"/>
                  <a:pt x="1040" y="2000"/>
                </a:cubicBezTo>
                <a:cubicBezTo>
                  <a:pt x="940" y="2000"/>
                  <a:pt x="770" y="1990"/>
                  <a:pt x="648" y="1959"/>
                </a:cubicBezTo>
                <a:cubicBezTo>
                  <a:pt x="550" y="1933"/>
                  <a:pt x="480" y="1891"/>
                  <a:pt x="480" y="1825"/>
                </a:cubicBezTo>
                <a:cubicBezTo>
                  <a:pt x="480" y="1783"/>
                  <a:pt x="488" y="1738"/>
                  <a:pt x="505" y="1696"/>
                </a:cubicBezTo>
                <a:cubicBezTo>
                  <a:pt x="520" y="1657"/>
                  <a:pt x="544" y="1620"/>
                  <a:pt x="574" y="1591"/>
                </a:cubicBezTo>
                <a:cubicBezTo>
                  <a:pt x="610" y="1556"/>
                  <a:pt x="683" y="1532"/>
                  <a:pt x="733" y="1517"/>
                </a:cubicBezTo>
                <a:cubicBezTo>
                  <a:pt x="759" y="1509"/>
                  <a:pt x="782" y="1502"/>
                  <a:pt x="809" y="1485"/>
                </a:cubicBezTo>
                <a:cubicBezTo>
                  <a:pt x="810" y="1485"/>
                  <a:pt x="811" y="1484"/>
                  <a:pt x="812" y="1483"/>
                </a:cubicBezTo>
                <a:cubicBezTo>
                  <a:pt x="826" y="1476"/>
                  <a:pt x="822" y="1435"/>
                  <a:pt x="820" y="1401"/>
                </a:cubicBezTo>
                <a:cubicBezTo>
                  <a:pt x="819" y="1393"/>
                  <a:pt x="818" y="1385"/>
                  <a:pt x="818" y="1378"/>
                </a:cubicBezTo>
                <a:cubicBezTo>
                  <a:pt x="783" y="1336"/>
                  <a:pt x="769" y="1283"/>
                  <a:pt x="756" y="1232"/>
                </a:cubicBezTo>
                <a:cubicBezTo>
                  <a:pt x="755" y="1229"/>
                  <a:pt x="755" y="1229"/>
                  <a:pt x="755" y="1229"/>
                </a:cubicBezTo>
                <a:cubicBezTo>
                  <a:pt x="704" y="1194"/>
                  <a:pt x="684" y="1126"/>
                  <a:pt x="697" y="1067"/>
                </a:cubicBezTo>
                <a:cubicBezTo>
                  <a:pt x="692" y="1047"/>
                  <a:pt x="688" y="1025"/>
                  <a:pt x="685" y="1005"/>
                </a:cubicBezTo>
                <a:cubicBezTo>
                  <a:pt x="675" y="937"/>
                  <a:pt x="676" y="868"/>
                  <a:pt x="698" y="810"/>
                </a:cubicBezTo>
                <a:cubicBezTo>
                  <a:pt x="727" y="733"/>
                  <a:pt x="786" y="689"/>
                  <a:pt x="865" y="675"/>
                </a:cubicBezTo>
                <a:cubicBezTo>
                  <a:pt x="914" y="634"/>
                  <a:pt x="995" y="617"/>
                  <a:pt x="1076" y="622"/>
                </a:cubicBezTo>
                <a:cubicBezTo>
                  <a:pt x="1231" y="631"/>
                  <a:pt x="1356" y="713"/>
                  <a:pt x="1389" y="869"/>
                </a:cubicBezTo>
                <a:cubicBezTo>
                  <a:pt x="1402" y="926"/>
                  <a:pt x="1400" y="991"/>
                  <a:pt x="1382" y="1067"/>
                </a:cubicBezTo>
                <a:cubicBezTo>
                  <a:pt x="1395" y="1127"/>
                  <a:pt x="1376" y="1194"/>
                  <a:pt x="1324" y="1229"/>
                </a:cubicBezTo>
                <a:cubicBezTo>
                  <a:pt x="1323" y="1233"/>
                  <a:pt x="1323" y="1233"/>
                  <a:pt x="1323" y="1233"/>
                </a:cubicBezTo>
                <a:cubicBezTo>
                  <a:pt x="1310" y="1283"/>
                  <a:pt x="1297" y="1336"/>
                  <a:pt x="1261" y="1378"/>
                </a:cubicBezTo>
                <a:cubicBezTo>
                  <a:pt x="1261" y="1387"/>
                  <a:pt x="1260" y="1397"/>
                  <a:pt x="1260" y="1406"/>
                </a:cubicBezTo>
                <a:cubicBezTo>
                  <a:pt x="1257" y="1438"/>
                  <a:pt x="1254" y="1475"/>
                  <a:pt x="1266" y="1483"/>
                </a:cubicBezTo>
                <a:cubicBezTo>
                  <a:pt x="1267" y="1483"/>
                  <a:pt x="1268" y="1484"/>
                  <a:pt x="1269" y="1484"/>
                </a:cubicBezTo>
                <a:cubicBezTo>
                  <a:pt x="1297" y="1502"/>
                  <a:pt x="1320" y="1509"/>
                  <a:pt x="1346" y="1517"/>
                </a:cubicBezTo>
                <a:cubicBezTo>
                  <a:pt x="1397" y="1532"/>
                  <a:pt x="1470" y="1556"/>
                  <a:pt x="1505" y="1591"/>
                </a:cubicBezTo>
                <a:cubicBezTo>
                  <a:pt x="1536" y="1620"/>
                  <a:pt x="1559" y="1657"/>
                  <a:pt x="1574" y="1696"/>
                </a:cubicBezTo>
                <a:cubicBezTo>
                  <a:pt x="1591" y="1738"/>
                  <a:pt x="1600" y="1783"/>
                  <a:pt x="1600" y="1825"/>
                </a:cubicBezTo>
                <a:cubicBezTo>
                  <a:pt x="1600" y="1891"/>
                  <a:pt x="1529" y="1933"/>
                  <a:pt x="1432" y="1959"/>
                </a:cubicBezTo>
                <a:close/>
                <a:moveTo>
                  <a:pt x="745" y="334"/>
                </a:moveTo>
                <a:cubicBezTo>
                  <a:pt x="745" y="328"/>
                  <a:pt x="745" y="321"/>
                  <a:pt x="745" y="315"/>
                </a:cubicBezTo>
                <a:cubicBezTo>
                  <a:pt x="745" y="256"/>
                  <a:pt x="762" y="188"/>
                  <a:pt x="798" y="130"/>
                </a:cubicBezTo>
                <a:cubicBezTo>
                  <a:pt x="854" y="44"/>
                  <a:pt x="939" y="0"/>
                  <a:pt x="1040" y="0"/>
                </a:cubicBezTo>
                <a:cubicBezTo>
                  <a:pt x="1140" y="0"/>
                  <a:pt x="1226" y="44"/>
                  <a:pt x="1281" y="130"/>
                </a:cubicBezTo>
                <a:cubicBezTo>
                  <a:pt x="1318" y="188"/>
                  <a:pt x="1334" y="256"/>
                  <a:pt x="1334" y="315"/>
                </a:cubicBezTo>
                <a:cubicBezTo>
                  <a:pt x="1334" y="323"/>
                  <a:pt x="1334" y="331"/>
                  <a:pt x="1334" y="339"/>
                </a:cubicBezTo>
                <a:cubicBezTo>
                  <a:pt x="1326" y="343"/>
                  <a:pt x="1318" y="348"/>
                  <a:pt x="1312" y="353"/>
                </a:cubicBezTo>
                <a:cubicBezTo>
                  <a:pt x="1248" y="399"/>
                  <a:pt x="1202" y="467"/>
                  <a:pt x="1188" y="551"/>
                </a:cubicBezTo>
                <a:cubicBezTo>
                  <a:pt x="1187" y="554"/>
                  <a:pt x="1187" y="557"/>
                  <a:pt x="1186" y="560"/>
                </a:cubicBezTo>
                <a:cubicBezTo>
                  <a:pt x="1152" y="550"/>
                  <a:pt x="1116" y="544"/>
                  <a:pt x="1080" y="542"/>
                </a:cubicBezTo>
                <a:cubicBezTo>
                  <a:pt x="1016" y="538"/>
                  <a:pt x="950" y="547"/>
                  <a:pt x="894" y="568"/>
                </a:cubicBezTo>
                <a:cubicBezTo>
                  <a:pt x="888" y="518"/>
                  <a:pt x="869" y="469"/>
                  <a:pt x="841" y="428"/>
                </a:cubicBezTo>
                <a:cubicBezTo>
                  <a:pt x="816" y="391"/>
                  <a:pt x="783" y="358"/>
                  <a:pt x="745" y="334"/>
                </a:cubicBezTo>
                <a:close/>
                <a:moveTo>
                  <a:pt x="1264" y="588"/>
                </a:moveTo>
                <a:cubicBezTo>
                  <a:pt x="1264" y="580"/>
                  <a:pt x="1265" y="572"/>
                  <a:pt x="1266" y="564"/>
                </a:cubicBezTo>
                <a:cubicBezTo>
                  <a:pt x="1277" y="502"/>
                  <a:pt x="1311" y="452"/>
                  <a:pt x="1358" y="418"/>
                </a:cubicBezTo>
                <a:cubicBezTo>
                  <a:pt x="1404" y="385"/>
                  <a:pt x="1462" y="367"/>
                  <a:pt x="1521" y="366"/>
                </a:cubicBezTo>
                <a:cubicBezTo>
                  <a:pt x="1539" y="365"/>
                  <a:pt x="1557" y="367"/>
                  <a:pt x="1574" y="369"/>
                </a:cubicBezTo>
                <a:cubicBezTo>
                  <a:pt x="1594" y="373"/>
                  <a:pt x="1610" y="377"/>
                  <a:pt x="1624" y="383"/>
                </a:cubicBezTo>
                <a:cubicBezTo>
                  <a:pt x="1632" y="387"/>
                  <a:pt x="1639" y="391"/>
                  <a:pt x="1647" y="395"/>
                </a:cubicBezTo>
                <a:cubicBezTo>
                  <a:pt x="1668" y="389"/>
                  <a:pt x="1688" y="387"/>
                  <a:pt x="1709" y="389"/>
                </a:cubicBezTo>
                <a:cubicBezTo>
                  <a:pt x="1745" y="392"/>
                  <a:pt x="1780" y="407"/>
                  <a:pt x="1809" y="429"/>
                </a:cubicBezTo>
                <a:cubicBezTo>
                  <a:pt x="1837" y="451"/>
                  <a:pt x="1861" y="480"/>
                  <a:pt x="1876" y="512"/>
                </a:cubicBezTo>
                <a:cubicBezTo>
                  <a:pt x="1891" y="541"/>
                  <a:pt x="1898" y="574"/>
                  <a:pt x="1896" y="606"/>
                </a:cubicBezTo>
                <a:cubicBezTo>
                  <a:pt x="1887" y="744"/>
                  <a:pt x="1887" y="744"/>
                  <a:pt x="1887" y="744"/>
                </a:cubicBezTo>
                <a:cubicBezTo>
                  <a:pt x="1900" y="798"/>
                  <a:pt x="1882" y="861"/>
                  <a:pt x="1835" y="893"/>
                </a:cubicBezTo>
                <a:cubicBezTo>
                  <a:pt x="1827" y="920"/>
                  <a:pt x="1814" y="952"/>
                  <a:pt x="1799" y="982"/>
                </a:cubicBezTo>
                <a:cubicBezTo>
                  <a:pt x="1787" y="1005"/>
                  <a:pt x="1773" y="1028"/>
                  <a:pt x="1758" y="1046"/>
                </a:cubicBezTo>
                <a:cubicBezTo>
                  <a:pt x="1759" y="1063"/>
                  <a:pt x="1760" y="1081"/>
                  <a:pt x="1764" y="1099"/>
                </a:cubicBezTo>
                <a:cubicBezTo>
                  <a:pt x="1768" y="1115"/>
                  <a:pt x="1774" y="1129"/>
                  <a:pt x="1784" y="1135"/>
                </a:cubicBezTo>
                <a:cubicBezTo>
                  <a:pt x="1785" y="1135"/>
                  <a:pt x="1785" y="1135"/>
                  <a:pt x="1785" y="1135"/>
                </a:cubicBezTo>
                <a:cubicBezTo>
                  <a:pt x="1809" y="1151"/>
                  <a:pt x="1829" y="1157"/>
                  <a:pt x="1852" y="1163"/>
                </a:cubicBezTo>
                <a:cubicBezTo>
                  <a:pt x="1898" y="1177"/>
                  <a:pt x="1962" y="1199"/>
                  <a:pt x="1995" y="1230"/>
                </a:cubicBezTo>
                <a:cubicBezTo>
                  <a:pt x="2022" y="1256"/>
                  <a:pt x="2043" y="1289"/>
                  <a:pt x="2057" y="1325"/>
                </a:cubicBezTo>
                <a:cubicBezTo>
                  <a:pt x="2072" y="1363"/>
                  <a:pt x="2080" y="1403"/>
                  <a:pt x="2080" y="1441"/>
                </a:cubicBezTo>
                <a:cubicBezTo>
                  <a:pt x="2080" y="1502"/>
                  <a:pt x="2016" y="1540"/>
                  <a:pt x="1928" y="1563"/>
                </a:cubicBezTo>
                <a:cubicBezTo>
                  <a:pt x="1832" y="1588"/>
                  <a:pt x="1704" y="1598"/>
                  <a:pt x="1614" y="1600"/>
                </a:cubicBezTo>
                <a:cubicBezTo>
                  <a:pt x="1599" y="1576"/>
                  <a:pt x="1581" y="1553"/>
                  <a:pt x="1561" y="1533"/>
                </a:cubicBezTo>
                <a:cubicBezTo>
                  <a:pt x="1513" y="1487"/>
                  <a:pt x="1434" y="1460"/>
                  <a:pt x="1369" y="1440"/>
                </a:cubicBezTo>
                <a:cubicBezTo>
                  <a:pt x="1354" y="1435"/>
                  <a:pt x="1340" y="1431"/>
                  <a:pt x="1326" y="1425"/>
                </a:cubicBezTo>
                <a:cubicBezTo>
                  <a:pt x="1363" y="1379"/>
                  <a:pt x="1379" y="1335"/>
                  <a:pt x="1395" y="1274"/>
                </a:cubicBezTo>
                <a:cubicBezTo>
                  <a:pt x="1450" y="1222"/>
                  <a:pt x="1474" y="1144"/>
                  <a:pt x="1464" y="1069"/>
                </a:cubicBezTo>
                <a:cubicBezTo>
                  <a:pt x="1481" y="988"/>
                  <a:pt x="1482" y="916"/>
                  <a:pt x="1468" y="851"/>
                </a:cubicBezTo>
                <a:cubicBezTo>
                  <a:pt x="1442" y="736"/>
                  <a:pt x="1370" y="639"/>
                  <a:pt x="1264" y="588"/>
                </a:cubicBezTo>
                <a:close/>
                <a:moveTo>
                  <a:pt x="433" y="372"/>
                </a:moveTo>
                <a:cubicBezTo>
                  <a:pt x="455" y="374"/>
                  <a:pt x="478" y="380"/>
                  <a:pt x="500" y="389"/>
                </a:cubicBezTo>
                <a:cubicBezTo>
                  <a:pt x="522" y="380"/>
                  <a:pt x="544" y="374"/>
                  <a:pt x="566" y="372"/>
                </a:cubicBezTo>
                <a:cubicBezTo>
                  <a:pt x="652" y="363"/>
                  <a:pt x="726" y="401"/>
                  <a:pt x="774" y="472"/>
                </a:cubicBezTo>
                <a:cubicBezTo>
                  <a:pt x="801" y="511"/>
                  <a:pt x="816" y="558"/>
                  <a:pt x="816" y="605"/>
                </a:cubicBezTo>
                <a:cubicBezTo>
                  <a:pt x="714" y="634"/>
                  <a:pt x="655" y="699"/>
                  <a:pt x="623" y="782"/>
                </a:cubicBezTo>
                <a:cubicBezTo>
                  <a:pt x="596" y="854"/>
                  <a:pt x="594" y="937"/>
                  <a:pt x="606" y="1016"/>
                </a:cubicBezTo>
                <a:cubicBezTo>
                  <a:pt x="608" y="1034"/>
                  <a:pt x="612" y="1052"/>
                  <a:pt x="616" y="1070"/>
                </a:cubicBezTo>
                <a:cubicBezTo>
                  <a:pt x="606" y="1144"/>
                  <a:pt x="629" y="1222"/>
                  <a:pt x="684" y="1274"/>
                </a:cubicBezTo>
                <a:cubicBezTo>
                  <a:pt x="698" y="1325"/>
                  <a:pt x="715" y="1378"/>
                  <a:pt x="753" y="1425"/>
                </a:cubicBezTo>
                <a:cubicBezTo>
                  <a:pt x="739" y="1431"/>
                  <a:pt x="726" y="1435"/>
                  <a:pt x="710" y="1440"/>
                </a:cubicBezTo>
                <a:cubicBezTo>
                  <a:pt x="645" y="1460"/>
                  <a:pt x="566" y="1487"/>
                  <a:pt x="518" y="1533"/>
                </a:cubicBezTo>
                <a:cubicBezTo>
                  <a:pt x="498" y="1553"/>
                  <a:pt x="480" y="1575"/>
                  <a:pt x="465" y="1599"/>
                </a:cubicBezTo>
                <a:cubicBezTo>
                  <a:pt x="375" y="1597"/>
                  <a:pt x="247" y="1588"/>
                  <a:pt x="152" y="1563"/>
                </a:cubicBezTo>
                <a:cubicBezTo>
                  <a:pt x="64" y="1540"/>
                  <a:pt x="0" y="1502"/>
                  <a:pt x="0" y="1440"/>
                </a:cubicBezTo>
                <a:cubicBezTo>
                  <a:pt x="0" y="1402"/>
                  <a:pt x="7" y="1362"/>
                  <a:pt x="22" y="1325"/>
                </a:cubicBezTo>
                <a:cubicBezTo>
                  <a:pt x="36" y="1289"/>
                  <a:pt x="57" y="1256"/>
                  <a:pt x="84" y="1230"/>
                </a:cubicBezTo>
                <a:cubicBezTo>
                  <a:pt x="116" y="1199"/>
                  <a:pt x="182" y="1177"/>
                  <a:pt x="227" y="1163"/>
                </a:cubicBezTo>
                <a:cubicBezTo>
                  <a:pt x="249" y="1157"/>
                  <a:pt x="267" y="1151"/>
                  <a:pt x="290" y="1138"/>
                </a:cubicBezTo>
                <a:cubicBezTo>
                  <a:pt x="228" y="1133"/>
                  <a:pt x="163" y="1115"/>
                  <a:pt x="122" y="1053"/>
                </a:cubicBezTo>
                <a:cubicBezTo>
                  <a:pt x="106" y="1030"/>
                  <a:pt x="106" y="1030"/>
                  <a:pt x="106" y="1030"/>
                </a:cubicBezTo>
                <a:cubicBezTo>
                  <a:pt x="123" y="1007"/>
                  <a:pt x="123" y="1007"/>
                  <a:pt x="123" y="1007"/>
                </a:cubicBezTo>
                <a:cubicBezTo>
                  <a:pt x="146" y="977"/>
                  <a:pt x="161" y="922"/>
                  <a:pt x="171" y="862"/>
                </a:cubicBezTo>
                <a:cubicBezTo>
                  <a:pt x="187" y="766"/>
                  <a:pt x="188" y="662"/>
                  <a:pt x="184" y="621"/>
                </a:cubicBezTo>
                <a:cubicBezTo>
                  <a:pt x="179" y="569"/>
                  <a:pt x="195" y="516"/>
                  <a:pt x="225" y="472"/>
                </a:cubicBezTo>
                <a:cubicBezTo>
                  <a:pt x="272" y="401"/>
                  <a:pt x="347" y="363"/>
                  <a:pt x="433" y="37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 bwMode="gray">
          <a:xfrm>
            <a:off x="8487386" y="4931876"/>
            <a:ext cx="181285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fspreken met vrienden naast de sporen</a:t>
            </a:r>
          </a:p>
        </p:txBody>
      </p:sp>
      <p:sp>
        <p:nvSpPr>
          <p:cNvPr id="76" name="TextBox 75"/>
          <p:cNvSpPr txBox="1"/>
          <p:nvPr/>
        </p:nvSpPr>
        <p:spPr bwMode="gray">
          <a:xfrm>
            <a:off x="10021748" y="4983260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9%</a:t>
            </a:r>
          </a:p>
        </p:txBody>
      </p:sp>
      <p:sp>
        <p:nvSpPr>
          <p:cNvPr id="78" name="TextBox 77"/>
          <p:cNvSpPr txBox="1"/>
          <p:nvPr/>
        </p:nvSpPr>
        <p:spPr bwMode="gray">
          <a:xfrm>
            <a:off x="8737390" y="4452240"/>
            <a:ext cx="13363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 de rand van het perron zitten</a:t>
            </a:r>
          </a:p>
        </p:txBody>
      </p:sp>
      <p:sp>
        <p:nvSpPr>
          <p:cNvPr id="82" name="Freeform 11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603719" y="3582905"/>
            <a:ext cx="292481" cy="340814"/>
          </a:xfrm>
          <a:custGeom>
            <a:avLst/>
            <a:gdLst>
              <a:gd name="T0" fmla="*/ 68 w 1693"/>
              <a:gd name="T1" fmla="*/ 1211 h 1973"/>
              <a:gd name="T2" fmla="*/ 8 w 1693"/>
              <a:gd name="T3" fmla="*/ 900 h 1973"/>
              <a:gd name="T4" fmla="*/ 108 w 1693"/>
              <a:gd name="T5" fmla="*/ 558 h 1973"/>
              <a:gd name="T6" fmla="*/ 340 w 1693"/>
              <a:gd name="T7" fmla="*/ 409 h 1973"/>
              <a:gd name="T8" fmla="*/ 680 w 1693"/>
              <a:gd name="T9" fmla="*/ 705 h 1973"/>
              <a:gd name="T10" fmla="*/ 694 w 1693"/>
              <a:gd name="T11" fmla="*/ 1022 h 1973"/>
              <a:gd name="T12" fmla="*/ 704 w 1693"/>
              <a:gd name="T13" fmla="*/ 1334 h 1973"/>
              <a:gd name="T14" fmla="*/ 711 w 1693"/>
              <a:gd name="T15" fmla="*/ 1369 h 1973"/>
              <a:gd name="T16" fmla="*/ 204 w 1693"/>
              <a:gd name="T17" fmla="*/ 1528 h 1973"/>
              <a:gd name="T18" fmla="*/ 188 w 1693"/>
              <a:gd name="T19" fmla="*/ 1496 h 1973"/>
              <a:gd name="T20" fmla="*/ 68 w 1693"/>
              <a:gd name="T21" fmla="*/ 1211 h 1973"/>
              <a:gd name="T22" fmla="*/ 709 w 1693"/>
              <a:gd name="T23" fmla="*/ 1480 h 1973"/>
              <a:gd name="T24" fmla="*/ 738 w 1693"/>
              <a:gd name="T25" fmla="*/ 1558 h 1973"/>
              <a:gd name="T26" fmla="*/ 610 w 1693"/>
              <a:gd name="T27" fmla="*/ 1929 h 1973"/>
              <a:gd name="T28" fmla="*/ 557 w 1693"/>
              <a:gd name="T29" fmla="*/ 1945 h 1973"/>
              <a:gd name="T30" fmla="*/ 247 w 1693"/>
              <a:gd name="T31" fmla="*/ 1712 h 1973"/>
              <a:gd name="T32" fmla="*/ 230 w 1693"/>
              <a:gd name="T33" fmla="*/ 1636 h 1973"/>
              <a:gd name="T34" fmla="*/ 709 w 1693"/>
              <a:gd name="T35" fmla="*/ 1480 h 1973"/>
              <a:gd name="T36" fmla="*/ 1685 w 1693"/>
              <a:gd name="T37" fmla="*/ 501 h 1973"/>
              <a:gd name="T38" fmla="*/ 1625 w 1693"/>
              <a:gd name="T39" fmla="*/ 813 h 1973"/>
              <a:gd name="T40" fmla="*/ 1504 w 1693"/>
              <a:gd name="T41" fmla="*/ 1098 h 1973"/>
              <a:gd name="T42" fmla="*/ 1489 w 1693"/>
              <a:gd name="T43" fmla="*/ 1129 h 1973"/>
              <a:gd name="T44" fmla="*/ 982 w 1693"/>
              <a:gd name="T45" fmla="*/ 970 h 1973"/>
              <a:gd name="T46" fmla="*/ 989 w 1693"/>
              <a:gd name="T47" fmla="*/ 935 h 1973"/>
              <a:gd name="T48" fmla="*/ 999 w 1693"/>
              <a:gd name="T49" fmla="*/ 624 h 1973"/>
              <a:gd name="T50" fmla="*/ 1013 w 1693"/>
              <a:gd name="T51" fmla="*/ 307 h 1973"/>
              <a:gd name="T52" fmla="*/ 1352 w 1693"/>
              <a:gd name="T53" fmla="*/ 10 h 1973"/>
              <a:gd name="T54" fmla="*/ 1584 w 1693"/>
              <a:gd name="T55" fmla="*/ 159 h 1973"/>
              <a:gd name="T56" fmla="*/ 1685 w 1693"/>
              <a:gd name="T57" fmla="*/ 501 h 1973"/>
              <a:gd name="T58" fmla="*/ 1463 w 1693"/>
              <a:gd name="T59" fmla="*/ 1238 h 1973"/>
              <a:gd name="T60" fmla="*/ 1456 w 1693"/>
              <a:gd name="T61" fmla="*/ 1272 h 1973"/>
              <a:gd name="T62" fmla="*/ 1446 w 1693"/>
              <a:gd name="T63" fmla="*/ 1314 h 1973"/>
              <a:gd name="T64" fmla="*/ 1136 w 1693"/>
              <a:gd name="T65" fmla="*/ 1546 h 1973"/>
              <a:gd name="T66" fmla="*/ 1105 w 1693"/>
              <a:gd name="T67" fmla="*/ 1539 h 1973"/>
              <a:gd name="T68" fmla="*/ 1082 w 1693"/>
              <a:gd name="T69" fmla="*/ 1531 h 1973"/>
              <a:gd name="T70" fmla="*/ 954 w 1693"/>
              <a:gd name="T71" fmla="*/ 1160 h 1973"/>
              <a:gd name="T72" fmla="*/ 970 w 1693"/>
              <a:gd name="T73" fmla="*/ 1117 h 1973"/>
              <a:gd name="T74" fmla="*/ 984 w 1693"/>
              <a:gd name="T75" fmla="*/ 1082 h 1973"/>
              <a:gd name="T76" fmla="*/ 1463 w 1693"/>
              <a:gd name="T77" fmla="*/ 1238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3" h="1973">
                <a:moveTo>
                  <a:pt x="68" y="1211"/>
                </a:moveTo>
                <a:cubicBezTo>
                  <a:pt x="36" y="1116"/>
                  <a:pt x="16" y="1018"/>
                  <a:pt x="8" y="900"/>
                </a:cubicBezTo>
                <a:cubicBezTo>
                  <a:pt x="0" y="783"/>
                  <a:pt x="40" y="653"/>
                  <a:pt x="108" y="558"/>
                </a:cubicBezTo>
                <a:cubicBezTo>
                  <a:pt x="163" y="481"/>
                  <a:pt x="243" y="416"/>
                  <a:pt x="340" y="409"/>
                </a:cubicBezTo>
                <a:cubicBezTo>
                  <a:pt x="504" y="398"/>
                  <a:pt x="640" y="560"/>
                  <a:pt x="680" y="705"/>
                </a:cubicBezTo>
                <a:cubicBezTo>
                  <a:pt x="709" y="810"/>
                  <a:pt x="703" y="915"/>
                  <a:pt x="694" y="1022"/>
                </a:cubicBezTo>
                <a:cubicBezTo>
                  <a:pt x="682" y="1148"/>
                  <a:pt x="678" y="1199"/>
                  <a:pt x="704" y="1334"/>
                </a:cubicBezTo>
                <a:cubicBezTo>
                  <a:pt x="711" y="1369"/>
                  <a:pt x="711" y="1369"/>
                  <a:pt x="711" y="1369"/>
                </a:cubicBezTo>
                <a:cubicBezTo>
                  <a:pt x="542" y="1422"/>
                  <a:pt x="373" y="1474"/>
                  <a:pt x="204" y="1528"/>
                </a:cubicBezTo>
                <a:cubicBezTo>
                  <a:pt x="188" y="1496"/>
                  <a:pt x="188" y="1496"/>
                  <a:pt x="188" y="1496"/>
                </a:cubicBezTo>
                <a:cubicBezTo>
                  <a:pt x="139" y="1396"/>
                  <a:pt x="98" y="1306"/>
                  <a:pt x="68" y="1211"/>
                </a:cubicBezTo>
                <a:close/>
                <a:moveTo>
                  <a:pt x="709" y="1480"/>
                </a:moveTo>
                <a:cubicBezTo>
                  <a:pt x="720" y="1506"/>
                  <a:pt x="730" y="1532"/>
                  <a:pt x="738" y="1558"/>
                </a:cubicBezTo>
                <a:cubicBezTo>
                  <a:pt x="782" y="1701"/>
                  <a:pt x="767" y="1867"/>
                  <a:pt x="610" y="1929"/>
                </a:cubicBezTo>
                <a:cubicBezTo>
                  <a:pt x="593" y="1936"/>
                  <a:pt x="575" y="1941"/>
                  <a:pt x="557" y="1945"/>
                </a:cubicBezTo>
                <a:cubicBezTo>
                  <a:pt x="402" y="1973"/>
                  <a:pt x="288" y="1849"/>
                  <a:pt x="247" y="1712"/>
                </a:cubicBezTo>
                <a:cubicBezTo>
                  <a:pt x="239" y="1687"/>
                  <a:pt x="235" y="1662"/>
                  <a:pt x="230" y="1636"/>
                </a:cubicBezTo>
                <a:lnTo>
                  <a:pt x="709" y="1480"/>
                </a:lnTo>
                <a:close/>
                <a:moveTo>
                  <a:pt x="1685" y="501"/>
                </a:moveTo>
                <a:cubicBezTo>
                  <a:pt x="1677" y="619"/>
                  <a:pt x="1656" y="718"/>
                  <a:pt x="1625" y="813"/>
                </a:cubicBezTo>
                <a:cubicBezTo>
                  <a:pt x="1594" y="908"/>
                  <a:pt x="1553" y="997"/>
                  <a:pt x="1504" y="1098"/>
                </a:cubicBezTo>
                <a:cubicBezTo>
                  <a:pt x="1489" y="1129"/>
                  <a:pt x="1489" y="1129"/>
                  <a:pt x="1489" y="1129"/>
                </a:cubicBezTo>
                <a:cubicBezTo>
                  <a:pt x="982" y="970"/>
                  <a:pt x="982" y="970"/>
                  <a:pt x="982" y="970"/>
                </a:cubicBezTo>
                <a:cubicBezTo>
                  <a:pt x="989" y="935"/>
                  <a:pt x="989" y="935"/>
                  <a:pt x="989" y="935"/>
                </a:cubicBezTo>
                <a:cubicBezTo>
                  <a:pt x="1015" y="801"/>
                  <a:pt x="1011" y="750"/>
                  <a:pt x="999" y="624"/>
                </a:cubicBezTo>
                <a:cubicBezTo>
                  <a:pt x="990" y="517"/>
                  <a:pt x="984" y="412"/>
                  <a:pt x="1013" y="307"/>
                </a:cubicBezTo>
                <a:cubicBezTo>
                  <a:pt x="1053" y="162"/>
                  <a:pt x="1189" y="0"/>
                  <a:pt x="1352" y="10"/>
                </a:cubicBezTo>
                <a:cubicBezTo>
                  <a:pt x="1450" y="17"/>
                  <a:pt x="1530" y="83"/>
                  <a:pt x="1584" y="159"/>
                </a:cubicBezTo>
                <a:cubicBezTo>
                  <a:pt x="1652" y="255"/>
                  <a:pt x="1693" y="385"/>
                  <a:pt x="1685" y="501"/>
                </a:cubicBezTo>
                <a:close/>
                <a:moveTo>
                  <a:pt x="1463" y="1238"/>
                </a:moveTo>
                <a:cubicBezTo>
                  <a:pt x="1456" y="1272"/>
                  <a:pt x="1456" y="1272"/>
                  <a:pt x="1456" y="1272"/>
                </a:cubicBezTo>
                <a:cubicBezTo>
                  <a:pt x="1454" y="1286"/>
                  <a:pt x="1450" y="1300"/>
                  <a:pt x="1446" y="1314"/>
                </a:cubicBezTo>
                <a:cubicBezTo>
                  <a:pt x="1404" y="1451"/>
                  <a:pt x="1291" y="1575"/>
                  <a:pt x="1136" y="1546"/>
                </a:cubicBezTo>
                <a:cubicBezTo>
                  <a:pt x="1126" y="1544"/>
                  <a:pt x="1115" y="1542"/>
                  <a:pt x="1105" y="1539"/>
                </a:cubicBezTo>
                <a:cubicBezTo>
                  <a:pt x="1097" y="1536"/>
                  <a:pt x="1090" y="1534"/>
                  <a:pt x="1082" y="1531"/>
                </a:cubicBezTo>
                <a:cubicBezTo>
                  <a:pt x="895" y="1456"/>
                  <a:pt x="904" y="1323"/>
                  <a:pt x="954" y="1160"/>
                </a:cubicBezTo>
                <a:cubicBezTo>
                  <a:pt x="959" y="1146"/>
                  <a:pt x="964" y="1131"/>
                  <a:pt x="970" y="1117"/>
                </a:cubicBezTo>
                <a:cubicBezTo>
                  <a:pt x="984" y="1082"/>
                  <a:pt x="984" y="1082"/>
                  <a:pt x="984" y="1082"/>
                </a:cubicBezTo>
                <a:lnTo>
                  <a:pt x="1463" y="1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84" name="Group 83"/>
          <p:cNvGrpSpPr/>
          <p:nvPr/>
        </p:nvGrpSpPr>
        <p:grpSpPr>
          <a:xfrm>
            <a:off x="8096372" y="4086465"/>
            <a:ext cx="329083" cy="249321"/>
            <a:chOff x="5039190" y="4307161"/>
            <a:chExt cx="438009" cy="301678"/>
          </a:xfrm>
        </p:grpSpPr>
        <p:pic>
          <p:nvPicPr>
            <p:cNvPr id="85" name="Picture 84"/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167"/>
            <a:stretch/>
          </p:blipFill>
          <p:spPr>
            <a:xfrm rot="1290358">
              <a:off x="5039190" y="4307161"/>
              <a:ext cx="211916" cy="300161"/>
            </a:xfrm>
            <a:prstGeom prst="rect">
              <a:avLst/>
            </a:prstGeom>
          </p:spPr>
        </p:pic>
        <p:sp>
          <p:nvSpPr>
            <p:cNvPr id="86" name="Freeform 11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5279841" y="4378868"/>
              <a:ext cx="197358" cy="229971"/>
            </a:xfrm>
            <a:custGeom>
              <a:avLst/>
              <a:gdLst>
                <a:gd name="T0" fmla="*/ 68 w 1693"/>
                <a:gd name="T1" fmla="*/ 1211 h 1973"/>
                <a:gd name="T2" fmla="*/ 8 w 1693"/>
                <a:gd name="T3" fmla="*/ 900 h 1973"/>
                <a:gd name="T4" fmla="*/ 108 w 1693"/>
                <a:gd name="T5" fmla="*/ 558 h 1973"/>
                <a:gd name="T6" fmla="*/ 340 w 1693"/>
                <a:gd name="T7" fmla="*/ 409 h 1973"/>
                <a:gd name="T8" fmla="*/ 680 w 1693"/>
                <a:gd name="T9" fmla="*/ 705 h 1973"/>
                <a:gd name="T10" fmla="*/ 694 w 1693"/>
                <a:gd name="T11" fmla="*/ 1022 h 1973"/>
                <a:gd name="T12" fmla="*/ 704 w 1693"/>
                <a:gd name="T13" fmla="*/ 1334 h 1973"/>
                <a:gd name="T14" fmla="*/ 711 w 1693"/>
                <a:gd name="T15" fmla="*/ 1369 h 1973"/>
                <a:gd name="T16" fmla="*/ 204 w 1693"/>
                <a:gd name="T17" fmla="*/ 1528 h 1973"/>
                <a:gd name="T18" fmla="*/ 188 w 1693"/>
                <a:gd name="T19" fmla="*/ 1496 h 1973"/>
                <a:gd name="T20" fmla="*/ 68 w 1693"/>
                <a:gd name="T21" fmla="*/ 1211 h 1973"/>
                <a:gd name="T22" fmla="*/ 709 w 1693"/>
                <a:gd name="T23" fmla="*/ 1480 h 1973"/>
                <a:gd name="T24" fmla="*/ 738 w 1693"/>
                <a:gd name="T25" fmla="*/ 1558 h 1973"/>
                <a:gd name="T26" fmla="*/ 610 w 1693"/>
                <a:gd name="T27" fmla="*/ 1929 h 1973"/>
                <a:gd name="T28" fmla="*/ 557 w 1693"/>
                <a:gd name="T29" fmla="*/ 1945 h 1973"/>
                <a:gd name="T30" fmla="*/ 247 w 1693"/>
                <a:gd name="T31" fmla="*/ 1712 h 1973"/>
                <a:gd name="T32" fmla="*/ 230 w 1693"/>
                <a:gd name="T33" fmla="*/ 1636 h 1973"/>
                <a:gd name="T34" fmla="*/ 709 w 1693"/>
                <a:gd name="T35" fmla="*/ 1480 h 1973"/>
                <a:gd name="T36" fmla="*/ 1685 w 1693"/>
                <a:gd name="T37" fmla="*/ 501 h 1973"/>
                <a:gd name="T38" fmla="*/ 1625 w 1693"/>
                <a:gd name="T39" fmla="*/ 813 h 1973"/>
                <a:gd name="T40" fmla="*/ 1504 w 1693"/>
                <a:gd name="T41" fmla="*/ 1098 h 1973"/>
                <a:gd name="T42" fmla="*/ 1489 w 1693"/>
                <a:gd name="T43" fmla="*/ 1129 h 1973"/>
                <a:gd name="T44" fmla="*/ 982 w 1693"/>
                <a:gd name="T45" fmla="*/ 970 h 1973"/>
                <a:gd name="T46" fmla="*/ 989 w 1693"/>
                <a:gd name="T47" fmla="*/ 935 h 1973"/>
                <a:gd name="T48" fmla="*/ 999 w 1693"/>
                <a:gd name="T49" fmla="*/ 624 h 1973"/>
                <a:gd name="T50" fmla="*/ 1013 w 1693"/>
                <a:gd name="T51" fmla="*/ 307 h 1973"/>
                <a:gd name="T52" fmla="*/ 1352 w 1693"/>
                <a:gd name="T53" fmla="*/ 10 h 1973"/>
                <a:gd name="T54" fmla="*/ 1584 w 1693"/>
                <a:gd name="T55" fmla="*/ 159 h 1973"/>
                <a:gd name="T56" fmla="*/ 1685 w 1693"/>
                <a:gd name="T57" fmla="*/ 501 h 1973"/>
                <a:gd name="T58" fmla="*/ 1463 w 1693"/>
                <a:gd name="T59" fmla="*/ 1238 h 1973"/>
                <a:gd name="T60" fmla="*/ 1456 w 1693"/>
                <a:gd name="T61" fmla="*/ 1272 h 1973"/>
                <a:gd name="T62" fmla="*/ 1446 w 1693"/>
                <a:gd name="T63" fmla="*/ 1314 h 1973"/>
                <a:gd name="T64" fmla="*/ 1136 w 1693"/>
                <a:gd name="T65" fmla="*/ 1546 h 1973"/>
                <a:gd name="T66" fmla="*/ 1105 w 1693"/>
                <a:gd name="T67" fmla="*/ 1539 h 1973"/>
                <a:gd name="T68" fmla="*/ 1082 w 1693"/>
                <a:gd name="T69" fmla="*/ 1531 h 1973"/>
                <a:gd name="T70" fmla="*/ 954 w 1693"/>
                <a:gd name="T71" fmla="*/ 1160 h 1973"/>
                <a:gd name="T72" fmla="*/ 970 w 1693"/>
                <a:gd name="T73" fmla="*/ 1117 h 1973"/>
                <a:gd name="T74" fmla="*/ 984 w 1693"/>
                <a:gd name="T75" fmla="*/ 1082 h 1973"/>
                <a:gd name="T76" fmla="*/ 1463 w 1693"/>
                <a:gd name="T77" fmla="*/ 1238 h 1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3" h="1973">
                  <a:moveTo>
                    <a:pt x="68" y="1211"/>
                  </a:moveTo>
                  <a:cubicBezTo>
                    <a:pt x="36" y="1116"/>
                    <a:pt x="16" y="1018"/>
                    <a:pt x="8" y="900"/>
                  </a:cubicBezTo>
                  <a:cubicBezTo>
                    <a:pt x="0" y="783"/>
                    <a:pt x="40" y="653"/>
                    <a:pt x="108" y="558"/>
                  </a:cubicBezTo>
                  <a:cubicBezTo>
                    <a:pt x="163" y="481"/>
                    <a:pt x="243" y="416"/>
                    <a:pt x="340" y="409"/>
                  </a:cubicBezTo>
                  <a:cubicBezTo>
                    <a:pt x="504" y="398"/>
                    <a:pt x="640" y="560"/>
                    <a:pt x="680" y="705"/>
                  </a:cubicBezTo>
                  <a:cubicBezTo>
                    <a:pt x="709" y="810"/>
                    <a:pt x="703" y="915"/>
                    <a:pt x="694" y="1022"/>
                  </a:cubicBezTo>
                  <a:cubicBezTo>
                    <a:pt x="682" y="1148"/>
                    <a:pt x="678" y="1199"/>
                    <a:pt x="704" y="1334"/>
                  </a:cubicBezTo>
                  <a:cubicBezTo>
                    <a:pt x="711" y="1369"/>
                    <a:pt x="711" y="1369"/>
                    <a:pt x="711" y="1369"/>
                  </a:cubicBezTo>
                  <a:cubicBezTo>
                    <a:pt x="542" y="1422"/>
                    <a:pt x="373" y="1474"/>
                    <a:pt x="204" y="1528"/>
                  </a:cubicBezTo>
                  <a:cubicBezTo>
                    <a:pt x="188" y="1496"/>
                    <a:pt x="188" y="1496"/>
                    <a:pt x="188" y="1496"/>
                  </a:cubicBezTo>
                  <a:cubicBezTo>
                    <a:pt x="139" y="1396"/>
                    <a:pt x="98" y="1306"/>
                    <a:pt x="68" y="1211"/>
                  </a:cubicBezTo>
                  <a:close/>
                  <a:moveTo>
                    <a:pt x="709" y="1480"/>
                  </a:moveTo>
                  <a:cubicBezTo>
                    <a:pt x="720" y="1506"/>
                    <a:pt x="730" y="1532"/>
                    <a:pt x="738" y="1558"/>
                  </a:cubicBezTo>
                  <a:cubicBezTo>
                    <a:pt x="782" y="1701"/>
                    <a:pt x="767" y="1867"/>
                    <a:pt x="610" y="1929"/>
                  </a:cubicBezTo>
                  <a:cubicBezTo>
                    <a:pt x="593" y="1936"/>
                    <a:pt x="575" y="1941"/>
                    <a:pt x="557" y="1945"/>
                  </a:cubicBezTo>
                  <a:cubicBezTo>
                    <a:pt x="402" y="1973"/>
                    <a:pt x="288" y="1849"/>
                    <a:pt x="247" y="1712"/>
                  </a:cubicBezTo>
                  <a:cubicBezTo>
                    <a:pt x="239" y="1687"/>
                    <a:pt x="235" y="1662"/>
                    <a:pt x="230" y="1636"/>
                  </a:cubicBezTo>
                  <a:lnTo>
                    <a:pt x="709" y="1480"/>
                  </a:lnTo>
                  <a:close/>
                  <a:moveTo>
                    <a:pt x="1685" y="501"/>
                  </a:moveTo>
                  <a:cubicBezTo>
                    <a:pt x="1677" y="619"/>
                    <a:pt x="1656" y="718"/>
                    <a:pt x="1625" y="813"/>
                  </a:cubicBezTo>
                  <a:cubicBezTo>
                    <a:pt x="1594" y="908"/>
                    <a:pt x="1553" y="997"/>
                    <a:pt x="1504" y="1098"/>
                  </a:cubicBezTo>
                  <a:cubicBezTo>
                    <a:pt x="1489" y="1129"/>
                    <a:pt x="1489" y="1129"/>
                    <a:pt x="1489" y="1129"/>
                  </a:cubicBezTo>
                  <a:cubicBezTo>
                    <a:pt x="982" y="970"/>
                    <a:pt x="982" y="970"/>
                    <a:pt x="982" y="970"/>
                  </a:cubicBezTo>
                  <a:cubicBezTo>
                    <a:pt x="989" y="935"/>
                    <a:pt x="989" y="935"/>
                    <a:pt x="989" y="935"/>
                  </a:cubicBezTo>
                  <a:cubicBezTo>
                    <a:pt x="1015" y="801"/>
                    <a:pt x="1011" y="750"/>
                    <a:pt x="999" y="624"/>
                  </a:cubicBezTo>
                  <a:cubicBezTo>
                    <a:pt x="990" y="517"/>
                    <a:pt x="984" y="412"/>
                    <a:pt x="1013" y="307"/>
                  </a:cubicBezTo>
                  <a:cubicBezTo>
                    <a:pt x="1053" y="162"/>
                    <a:pt x="1189" y="0"/>
                    <a:pt x="1352" y="10"/>
                  </a:cubicBezTo>
                  <a:cubicBezTo>
                    <a:pt x="1450" y="17"/>
                    <a:pt x="1530" y="83"/>
                    <a:pt x="1584" y="159"/>
                  </a:cubicBezTo>
                  <a:cubicBezTo>
                    <a:pt x="1652" y="255"/>
                    <a:pt x="1693" y="385"/>
                    <a:pt x="1685" y="501"/>
                  </a:cubicBezTo>
                  <a:close/>
                  <a:moveTo>
                    <a:pt x="1463" y="1238"/>
                  </a:moveTo>
                  <a:cubicBezTo>
                    <a:pt x="1456" y="1272"/>
                    <a:pt x="1456" y="1272"/>
                    <a:pt x="1456" y="1272"/>
                  </a:cubicBezTo>
                  <a:cubicBezTo>
                    <a:pt x="1454" y="1286"/>
                    <a:pt x="1450" y="1300"/>
                    <a:pt x="1446" y="1314"/>
                  </a:cubicBezTo>
                  <a:cubicBezTo>
                    <a:pt x="1404" y="1451"/>
                    <a:pt x="1291" y="1575"/>
                    <a:pt x="1136" y="1546"/>
                  </a:cubicBezTo>
                  <a:cubicBezTo>
                    <a:pt x="1126" y="1544"/>
                    <a:pt x="1115" y="1542"/>
                    <a:pt x="1105" y="1539"/>
                  </a:cubicBezTo>
                  <a:cubicBezTo>
                    <a:pt x="1097" y="1536"/>
                    <a:pt x="1090" y="1534"/>
                    <a:pt x="1082" y="1531"/>
                  </a:cubicBezTo>
                  <a:cubicBezTo>
                    <a:pt x="895" y="1456"/>
                    <a:pt x="904" y="1323"/>
                    <a:pt x="954" y="1160"/>
                  </a:cubicBezTo>
                  <a:cubicBezTo>
                    <a:pt x="959" y="1146"/>
                    <a:pt x="964" y="1131"/>
                    <a:pt x="970" y="1117"/>
                  </a:cubicBezTo>
                  <a:cubicBezTo>
                    <a:pt x="984" y="1082"/>
                    <a:pt x="984" y="1082"/>
                    <a:pt x="984" y="1082"/>
                  </a:cubicBezTo>
                  <a:lnTo>
                    <a:pt x="1463" y="12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7" name="Freeform 29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8107534" y="4460988"/>
            <a:ext cx="267473" cy="249235"/>
          </a:xfrm>
          <a:custGeom>
            <a:avLst/>
            <a:gdLst>
              <a:gd name="T0" fmla="*/ 1021 w 1925"/>
              <a:gd name="T1" fmla="*/ 956 h 1792"/>
              <a:gd name="T2" fmla="*/ 790 w 1925"/>
              <a:gd name="T3" fmla="*/ 956 h 1792"/>
              <a:gd name="T4" fmla="*/ 760 w 1925"/>
              <a:gd name="T5" fmla="*/ 433 h 1792"/>
              <a:gd name="T6" fmla="*/ 875 w 1925"/>
              <a:gd name="T7" fmla="*/ 372 h 1792"/>
              <a:gd name="T8" fmla="*/ 936 w 1925"/>
              <a:gd name="T9" fmla="*/ 487 h 1792"/>
              <a:gd name="T10" fmla="*/ 1021 w 1925"/>
              <a:gd name="T11" fmla="*/ 956 h 1792"/>
              <a:gd name="T12" fmla="*/ 1082 w 1925"/>
              <a:gd name="T13" fmla="*/ 259 h 1792"/>
              <a:gd name="T14" fmla="*/ 1082 w 1925"/>
              <a:gd name="T15" fmla="*/ 259 h 1792"/>
              <a:gd name="T16" fmla="*/ 1341 w 1925"/>
              <a:gd name="T17" fmla="*/ 518 h 1792"/>
              <a:gd name="T18" fmla="*/ 1599 w 1925"/>
              <a:gd name="T19" fmla="*/ 259 h 1792"/>
              <a:gd name="T20" fmla="*/ 1341 w 1925"/>
              <a:gd name="T21" fmla="*/ 0 h 1792"/>
              <a:gd name="T22" fmla="*/ 1082 w 1925"/>
              <a:gd name="T23" fmla="*/ 259 h 1792"/>
              <a:gd name="T24" fmla="*/ 1277 w 1925"/>
              <a:gd name="T25" fmla="*/ 1792 h 1792"/>
              <a:gd name="T26" fmla="*/ 1277 w 1925"/>
              <a:gd name="T27" fmla="*/ 1792 h 1792"/>
              <a:gd name="T28" fmla="*/ 1277 w 1925"/>
              <a:gd name="T29" fmla="*/ 1791 h 1792"/>
              <a:gd name="T30" fmla="*/ 1432 w 1925"/>
              <a:gd name="T31" fmla="*/ 1159 h 1792"/>
              <a:gd name="T32" fmla="*/ 1406 w 1925"/>
              <a:gd name="T33" fmla="*/ 1036 h 1792"/>
              <a:gd name="T34" fmla="*/ 1293 w 1925"/>
              <a:gd name="T35" fmla="*/ 981 h 1792"/>
              <a:gd name="T36" fmla="*/ 775 w 1925"/>
              <a:gd name="T37" fmla="*/ 981 h 1792"/>
              <a:gd name="T38" fmla="*/ 736 w 1925"/>
              <a:gd name="T39" fmla="*/ 425 h 1792"/>
              <a:gd name="T40" fmla="*/ 848 w 1925"/>
              <a:gd name="T41" fmla="*/ 342 h 1792"/>
              <a:gd name="T42" fmla="*/ 882 w 1925"/>
              <a:gd name="T43" fmla="*/ 348 h 1792"/>
              <a:gd name="T44" fmla="*/ 960 w 1925"/>
              <a:gd name="T45" fmla="*/ 494 h 1792"/>
              <a:gd name="T46" fmla="*/ 936 w 1925"/>
              <a:gd name="T47" fmla="*/ 709 h 1792"/>
              <a:gd name="T48" fmla="*/ 1002 w 1925"/>
              <a:gd name="T49" fmla="*/ 555 h 1792"/>
              <a:gd name="T50" fmla="*/ 952 w 1925"/>
              <a:gd name="T51" fmla="*/ 263 h 1792"/>
              <a:gd name="T52" fmla="*/ 620 w 1925"/>
              <a:gd name="T53" fmla="*/ 395 h 1792"/>
              <a:gd name="T54" fmla="*/ 426 w 1925"/>
              <a:gd name="T55" fmla="*/ 1006 h 1792"/>
              <a:gd name="T56" fmla="*/ 647 w 1925"/>
              <a:gd name="T57" fmla="*/ 1260 h 1792"/>
              <a:gd name="T58" fmla="*/ 724 w 1925"/>
              <a:gd name="T59" fmla="*/ 1269 h 1792"/>
              <a:gd name="T60" fmla="*/ 724 w 1925"/>
              <a:gd name="T61" fmla="*/ 1269 h 1792"/>
              <a:gd name="T62" fmla="*/ 766 w 1925"/>
              <a:gd name="T63" fmla="*/ 1269 h 1792"/>
              <a:gd name="T64" fmla="*/ 1110 w 1925"/>
              <a:gd name="T65" fmla="*/ 1269 h 1792"/>
              <a:gd name="T66" fmla="*/ 987 w 1925"/>
              <a:gd name="T67" fmla="*/ 1768 h 1792"/>
              <a:gd name="T68" fmla="*/ 984 w 1925"/>
              <a:gd name="T69" fmla="*/ 1787 h 1792"/>
              <a:gd name="T70" fmla="*/ 983 w 1925"/>
              <a:gd name="T71" fmla="*/ 1787 h 1792"/>
              <a:gd name="T72" fmla="*/ 983 w 1925"/>
              <a:gd name="T73" fmla="*/ 1792 h 1792"/>
              <a:gd name="T74" fmla="*/ 842 w 1925"/>
              <a:gd name="T75" fmla="*/ 1792 h 1792"/>
              <a:gd name="T76" fmla="*/ 884 w 1925"/>
              <a:gd name="T77" fmla="*/ 1591 h 1792"/>
              <a:gd name="T78" fmla="*/ 1018 w 1925"/>
              <a:gd name="T79" fmla="*/ 1537 h 1792"/>
              <a:gd name="T80" fmla="*/ 1075 w 1925"/>
              <a:gd name="T81" fmla="*/ 1304 h 1792"/>
              <a:gd name="T82" fmla="*/ 400 w 1925"/>
              <a:gd name="T83" fmla="*/ 1304 h 1792"/>
              <a:gd name="T84" fmla="*/ 334 w 1925"/>
              <a:gd name="T85" fmla="*/ 1238 h 1792"/>
              <a:gd name="T86" fmla="*/ 334 w 1925"/>
              <a:gd name="T87" fmla="*/ 939 h 1792"/>
              <a:gd name="T88" fmla="*/ 271 w 1925"/>
              <a:gd name="T89" fmla="*/ 876 h 1792"/>
              <a:gd name="T90" fmla="*/ 0 w 1925"/>
              <a:gd name="T91" fmla="*/ 877 h 1792"/>
              <a:gd name="T92" fmla="*/ 0 w 1925"/>
              <a:gd name="T93" fmla="*/ 1792 h 1792"/>
              <a:gd name="T94" fmla="*/ 1925 w 1925"/>
              <a:gd name="T95" fmla="*/ 1792 h 1792"/>
              <a:gd name="T96" fmla="*/ 1925 w 1925"/>
              <a:gd name="T97" fmla="*/ 1792 h 1792"/>
              <a:gd name="T98" fmla="*/ 1277 w 1925"/>
              <a:gd name="T99" fmla="*/ 1792 h 1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25" h="1792">
                <a:moveTo>
                  <a:pt x="1021" y="956"/>
                </a:moveTo>
                <a:lnTo>
                  <a:pt x="790" y="956"/>
                </a:lnTo>
                <a:cubicBezTo>
                  <a:pt x="699" y="779"/>
                  <a:pt x="721" y="559"/>
                  <a:pt x="760" y="433"/>
                </a:cubicBezTo>
                <a:cubicBezTo>
                  <a:pt x="775" y="384"/>
                  <a:pt x="826" y="357"/>
                  <a:pt x="875" y="372"/>
                </a:cubicBezTo>
                <a:cubicBezTo>
                  <a:pt x="923" y="387"/>
                  <a:pt x="950" y="438"/>
                  <a:pt x="936" y="487"/>
                </a:cubicBezTo>
                <a:cubicBezTo>
                  <a:pt x="931" y="501"/>
                  <a:pt x="843" y="804"/>
                  <a:pt x="1021" y="956"/>
                </a:cubicBezTo>
                <a:close/>
                <a:moveTo>
                  <a:pt x="1082" y="259"/>
                </a:moveTo>
                <a:lnTo>
                  <a:pt x="1082" y="259"/>
                </a:lnTo>
                <a:cubicBezTo>
                  <a:pt x="1082" y="402"/>
                  <a:pt x="1198" y="518"/>
                  <a:pt x="1341" y="518"/>
                </a:cubicBezTo>
                <a:cubicBezTo>
                  <a:pt x="1483" y="518"/>
                  <a:pt x="1599" y="402"/>
                  <a:pt x="1599" y="259"/>
                </a:cubicBezTo>
                <a:cubicBezTo>
                  <a:pt x="1599" y="116"/>
                  <a:pt x="1483" y="0"/>
                  <a:pt x="1341" y="0"/>
                </a:cubicBezTo>
                <a:cubicBezTo>
                  <a:pt x="1198" y="0"/>
                  <a:pt x="1082" y="116"/>
                  <a:pt x="1082" y="259"/>
                </a:cubicBezTo>
                <a:close/>
                <a:moveTo>
                  <a:pt x="1277" y="1792"/>
                </a:moveTo>
                <a:lnTo>
                  <a:pt x="1277" y="1792"/>
                </a:lnTo>
                <a:lnTo>
                  <a:pt x="1277" y="1791"/>
                </a:lnTo>
                <a:lnTo>
                  <a:pt x="1432" y="1159"/>
                </a:lnTo>
                <a:cubicBezTo>
                  <a:pt x="1443" y="1116"/>
                  <a:pt x="1433" y="1071"/>
                  <a:pt x="1406" y="1036"/>
                </a:cubicBezTo>
                <a:cubicBezTo>
                  <a:pt x="1378" y="1001"/>
                  <a:pt x="1337" y="981"/>
                  <a:pt x="1293" y="981"/>
                </a:cubicBezTo>
                <a:lnTo>
                  <a:pt x="775" y="981"/>
                </a:lnTo>
                <a:cubicBezTo>
                  <a:pt x="672" y="795"/>
                  <a:pt x="694" y="560"/>
                  <a:pt x="736" y="425"/>
                </a:cubicBezTo>
                <a:cubicBezTo>
                  <a:pt x="751" y="376"/>
                  <a:pt x="796" y="342"/>
                  <a:pt x="848" y="342"/>
                </a:cubicBezTo>
                <a:cubicBezTo>
                  <a:pt x="859" y="342"/>
                  <a:pt x="871" y="344"/>
                  <a:pt x="882" y="348"/>
                </a:cubicBezTo>
                <a:cubicBezTo>
                  <a:pt x="944" y="367"/>
                  <a:pt x="979" y="432"/>
                  <a:pt x="960" y="494"/>
                </a:cubicBezTo>
                <a:cubicBezTo>
                  <a:pt x="957" y="502"/>
                  <a:pt x="929" y="600"/>
                  <a:pt x="936" y="709"/>
                </a:cubicBezTo>
                <a:cubicBezTo>
                  <a:pt x="959" y="653"/>
                  <a:pt x="982" y="601"/>
                  <a:pt x="1002" y="555"/>
                </a:cubicBezTo>
                <a:cubicBezTo>
                  <a:pt x="1057" y="450"/>
                  <a:pt x="1043" y="307"/>
                  <a:pt x="952" y="263"/>
                </a:cubicBezTo>
                <a:cubicBezTo>
                  <a:pt x="861" y="218"/>
                  <a:pt x="712" y="242"/>
                  <a:pt x="620" y="395"/>
                </a:cubicBezTo>
                <a:cubicBezTo>
                  <a:pt x="496" y="606"/>
                  <a:pt x="449" y="750"/>
                  <a:pt x="426" y="1006"/>
                </a:cubicBezTo>
                <a:cubicBezTo>
                  <a:pt x="423" y="1195"/>
                  <a:pt x="543" y="1239"/>
                  <a:pt x="647" y="1260"/>
                </a:cubicBezTo>
                <a:cubicBezTo>
                  <a:pt x="677" y="1266"/>
                  <a:pt x="702" y="1270"/>
                  <a:pt x="724" y="1269"/>
                </a:cubicBezTo>
                <a:cubicBezTo>
                  <a:pt x="724" y="1269"/>
                  <a:pt x="724" y="1269"/>
                  <a:pt x="724" y="1269"/>
                </a:cubicBezTo>
                <a:lnTo>
                  <a:pt x="766" y="1269"/>
                </a:lnTo>
                <a:lnTo>
                  <a:pt x="1110" y="1269"/>
                </a:lnTo>
                <a:lnTo>
                  <a:pt x="987" y="1768"/>
                </a:lnTo>
                <a:cubicBezTo>
                  <a:pt x="985" y="1775"/>
                  <a:pt x="985" y="1781"/>
                  <a:pt x="984" y="1787"/>
                </a:cubicBezTo>
                <a:lnTo>
                  <a:pt x="983" y="1787"/>
                </a:lnTo>
                <a:lnTo>
                  <a:pt x="983" y="1792"/>
                </a:lnTo>
                <a:lnTo>
                  <a:pt x="842" y="1792"/>
                </a:lnTo>
                <a:lnTo>
                  <a:pt x="884" y="1591"/>
                </a:lnTo>
                <a:cubicBezTo>
                  <a:pt x="884" y="1591"/>
                  <a:pt x="956" y="1579"/>
                  <a:pt x="1018" y="1537"/>
                </a:cubicBezTo>
                <a:lnTo>
                  <a:pt x="1075" y="1304"/>
                </a:lnTo>
                <a:lnTo>
                  <a:pt x="400" y="1304"/>
                </a:lnTo>
                <a:cubicBezTo>
                  <a:pt x="400" y="1304"/>
                  <a:pt x="334" y="1289"/>
                  <a:pt x="334" y="1238"/>
                </a:cubicBezTo>
                <a:lnTo>
                  <a:pt x="334" y="939"/>
                </a:lnTo>
                <a:cubicBezTo>
                  <a:pt x="334" y="904"/>
                  <a:pt x="306" y="876"/>
                  <a:pt x="271" y="876"/>
                </a:cubicBezTo>
                <a:cubicBezTo>
                  <a:pt x="271" y="876"/>
                  <a:pt x="1" y="877"/>
                  <a:pt x="0" y="877"/>
                </a:cubicBezTo>
                <a:lnTo>
                  <a:pt x="0" y="1792"/>
                </a:lnTo>
                <a:lnTo>
                  <a:pt x="1925" y="1792"/>
                </a:lnTo>
                <a:lnTo>
                  <a:pt x="1925" y="1792"/>
                </a:lnTo>
                <a:lnTo>
                  <a:pt x="1277" y="1792"/>
                </a:lnTo>
                <a:close/>
              </a:path>
            </a:pathLst>
          </a:custGeom>
          <a:solidFill>
            <a:srgbClr val="14151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 bwMode="gray">
          <a:xfrm>
            <a:off x="8049863" y="5518973"/>
            <a:ext cx="290847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ociale Spoorlopers </a:t>
            </a:r>
            <a:r>
              <a:rPr lang="nl-BE" sz="1400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schouwen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veel van het </a:t>
            </a:r>
            <a:r>
              <a:rPr lang="nl-BE" sz="1400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noemde risicogedrag als minder gevaarlijk 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an de anderen.  </a:t>
            </a:r>
          </a:p>
        </p:txBody>
      </p:sp>
      <p:sp>
        <p:nvSpPr>
          <p:cNvPr id="89" name="Rectangle 88"/>
          <p:cNvSpPr/>
          <p:nvPr/>
        </p:nvSpPr>
        <p:spPr bwMode="gray">
          <a:xfrm>
            <a:off x="10871336" y="6533769"/>
            <a:ext cx="255182" cy="1914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0" name="Rectangle 89"/>
          <p:cNvSpPr/>
          <p:nvPr/>
        </p:nvSpPr>
        <p:spPr bwMode="gray">
          <a:xfrm>
            <a:off x="10588347" y="6535109"/>
            <a:ext cx="255182" cy="191449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/>
        </p:nvSpPr>
        <p:spPr bwMode="gray">
          <a:xfrm>
            <a:off x="9069041" y="6385566"/>
            <a:ext cx="14536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gnificant verschillend van de totale steekproef</a:t>
            </a:r>
          </a:p>
        </p:txBody>
      </p:sp>
      <p:sp>
        <p:nvSpPr>
          <p:cNvPr id="57" name="Freeform 56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7701616" y="5480134"/>
            <a:ext cx="322305" cy="224413"/>
          </a:xfrm>
          <a:custGeom>
            <a:avLst/>
            <a:gdLst>
              <a:gd name="T0" fmla="*/ 1034 w 2068"/>
              <a:gd name="T1" fmla="*/ 0 h 1440"/>
              <a:gd name="T2" fmla="*/ 2065 w 2068"/>
              <a:gd name="T3" fmla="*/ 706 h 1440"/>
              <a:gd name="T4" fmla="*/ 2065 w 2068"/>
              <a:gd name="T5" fmla="*/ 734 h 1440"/>
              <a:gd name="T6" fmla="*/ 1034 w 2068"/>
              <a:gd name="T7" fmla="*/ 1440 h 1440"/>
              <a:gd name="T8" fmla="*/ 3 w 2068"/>
              <a:gd name="T9" fmla="*/ 734 h 1440"/>
              <a:gd name="T10" fmla="*/ 3 w 2068"/>
              <a:gd name="T11" fmla="*/ 706 h 1440"/>
              <a:gd name="T12" fmla="*/ 1034 w 2068"/>
              <a:gd name="T13" fmla="*/ 0 h 1440"/>
              <a:gd name="T14" fmla="*/ 1034 w 2068"/>
              <a:gd name="T15" fmla="*/ 160 h 1440"/>
              <a:gd name="T16" fmla="*/ 474 w 2068"/>
              <a:gd name="T17" fmla="*/ 720 h 1440"/>
              <a:gd name="T18" fmla="*/ 1034 w 2068"/>
              <a:gd name="T19" fmla="*/ 1280 h 1440"/>
              <a:gd name="T20" fmla="*/ 1594 w 2068"/>
              <a:gd name="T21" fmla="*/ 720 h 1440"/>
              <a:gd name="T22" fmla="*/ 1034 w 2068"/>
              <a:gd name="T23" fmla="*/ 160 h 1440"/>
              <a:gd name="T24" fmla="*/ 1322 w 2068"/>
              <a:gd name="T25" fmla="*/ 336 h 1440"/>
              <a:gd name="T26" fmla="*/ 686 w 2068"/>
              <a:gd name="T27" fmla="*/ 1051 h 1440"/>
              <a:gd name="T28" fmla="*/ 554 w 2068"/>
              <a:gd name="T29" fmla="*/ 720 h 1440"/>
              <a:gd name="T30" fmla="*/ 1034 w 2068"/>
              <a:gd name="T31" fmla="*/ 240 h 1440"/>
              <a:gd name="T32" fmla="*/ 1322 w 2068"/>
              <a:gd name="T33" fmla="*/ 336 h 1440"/>
              <a:gd name="T34" fmla="*/ 1514 w 2068"/>
              <a:gd name="T35" fmla="*/ 720 h 1440"/>
              <a:gd name="T36" fmla="*/ 1382 w 2068"/>
              <a:gd name="T37" fmla="*/ 389 h 1440"/>
              <a:gd name="T38" fmla="*/ 746 w 2068"/>
              <a:gd name="T39" fmla="*/ 1104 h 1440"/>
              <a:gd name="T40" fmla="*/ 1034 w 2068"/>
              <a:gd name="T41" fmla="*/ 1200 h 1440"/>
              <a:gd name="T42" fmla="*/ 1514 w 2068"/>
              <a:gd name="T43" fmla="*/ 7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68" h="1440">
                <a:moveTo>
                  <a:pt x="1034" y="0"/>
                </a:moveTo>
                <a:cubicBezTo>
                  <a:pt x="1464" y="0"/>
                  <a:pt x="1910" y="303"/>
                  <a:pt x="2065" y="706"/>
                </a:cubicBezTo>
                <a:cubicBezTo>
                  <a:pt x="2068" y="715"/>
                  <a:pt x="2068" y="725"/>
                  <a:pt x="2065" y="734"/>
                </a:cubicBezTo>
                <a:cubicBezTo>
                  <a:pt x="1910" y="1137"/>
                  <a:pt x="1465" y="1440"/>
                  <a:pt x="1034" y="1440"/>
                </a:cubicBezTo>
                <a:cubicBezTo>
                  <a:pt x="603" y="1440"/>
                  <a:pt x="158" y="1137"/>
                  <a:pt x="3" y="734"/>
                </a:cubicBezTo>
                <a:cubicBezTo>
                  <a:pt x="0" y="725"/>
                  <a:pt x="0" y="715"/>
                  <a:pt x="3" y="706"/>
                </a:cubicBezTo>
                <a:cubicBezTo>
                  <a:pt x="158" y="303"/>
                  <a:pt x="604" y="0"/>
                  <a:pt x="1034" y="0"/>
                </a:cubicBezTo>
                <a:close/>
                <a:moveTo>
                  <a:pt x="1034" y="160"/>
                </a:moveTo>
                <a:cubicBezTo>
                  <a:pt x="725" y="160"/>
                  <a:pt x="474" y="411"/>
                  <a:pt x="474" y="720"/>
                </a:cubicBezTo>
                <a:cubicBezTo>
                  <a:pt x="474" y="1029"/>
                  <a:pt x="725" y="1280"/>
                  <a:pt x="1034" y="1280"/>
                </a:cubicBezTo>
                <a:cubicBezTo>
                  <a:pt x="1343" y="1280"/>
                  <a:pt x="1594" y="1029"/>
                  <a:pt x="1594" y="720"/>
                </a:cubicBezTo>
                <a:cubicBezTo>
                  <a:pt x="1594" y="411"/>
                  <a:pt x="1343" y="160"/>
                  <a:pt x="1034" y="160"/>
                </a:cubicBezTo>
                <a:close/>
                <a:moveTo>
                  <a:pt x="1322" y="336"/>
                </a:moveTo>
                <a:cubicBezTo>
                  <a:pt x="686" y="1051"/>
                  <a:pt x="686" y="1051"/>
                  <a:pt x="686" y="1051"/>
                </a:cubicBezTo>
                <a:cubicBezTo>
                  <a:pt x="604" y="965"/>
                  <a:pt x="554" y="848"/>
                  <a:pt x="554" y="720"/>
                </a:cubicBezTo>
                <a:cubicBezTo>
                  <a:pt x="554" y="455"/>
                  <a:pt x="769" y="240"/>
                  <a:pt x="1034" y="240"/>
                </a:cubicBezTo>
                <a:cubicBezTo>
                  <a:pt x="1142" y="240"/>
                  <a:pt x="1242" y="276"/>
                  <a:pt x="1322" y="336"/>
                </a:cubicBezTo>
                <a:close/>
                <a:moveTo>
                  <a:pt x="1514" y="720"/>
                </a:moveTo>
                <a:cubicBezTo>
                  <a:pt x="1514" y="592"/>
                  <a:pt x="1464" y="475"/>
                  <a:pt x="1382" y="389"/>
                </a:cubicBezTo>
                <a:cubicBezTo>
                  <a:pt x="746" y="1104"/>
                  <a:pt x="746" y="1104"/>
                  <a:pt x="746" y="1104"/>
                </a:cubicBezTo>
                <a:cubicBezTo>
                  <a:pt x="826" y="1164"/>
                  <a:pt x="926" y="1200"/>
                  <a:pt x="1034" y="1200"/>
                </a:cubicBezTo>
                <a:cubicBezTo>
                  <a:pt x="1299" y="1200"/>
                  <a:pt x="1514" y="985"/>
                  <a:pt x="1514" y="7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Chevron 58"/>
          <p:cNvSpPr/>
          <p:nvPr/>
        </p:nvSpPr>
        <p:spPr bwMode="gray">
          <a:xfrm>
            <a:off x="6243130" y="3885990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0" name="Chevron 59"/>
          <p:cNvSpPr/>
          <p:nvPr/>
        </p:nvSpPr>
        <p:spPr bwMode="gray">
          <a:xfrm>
            <a:off x="6290731" y="2361802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77" name="Chevron 76"/>
          <p:cNvSpPr/>
          <p:nvPr/>
        </p:nvSpPr>
        <p:spPr bwMode="gray">
          <a:xfrm>
            <a:off x="6252845" y="5422148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 bwMode="gray">
          <a:xfrm>
            <a:off x="7988247" y="3584598"/>
            <a:ext cx="2788941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lijk gedrag dat in de afgelopen </a:t>
            </a:r>
            <a:b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 het vaakst voorkwam</a:t>
            </a:r>
          </a:p>
        </p:txBody>
      </p:sp>
    </p:spTree>
    <p:extLst>
      <p:ext uri="{BB962C8B-B14F-4D97-AF65-F5344CB8AC3E}">
        <p14:creationId xmlns:p14="http://schemas.microsoft.com/office/powerpoint/2010/main" val="218024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998" y="212120"/>
            <a:ext cx="2054700" cy="2739600"/>
          </a:xfrm>
          <a:prstGeom prst="rect">
            <a:avLst/>
          </a:prstGeom>
        </p:spPr>
      </p:pic>
      <p:sp>
        <p:nvSpPr>
          <p:cNvPr id="62" name="Rounded Rectangle 61"/>
          <p:cNvSpPr/>
          <p:nvPr/>
        </p:nvSpPr>
        <p:spPr bwMode="gray">
          <a:xfrm>
            <a:off x="6966340" y="1671712"/>
            <a:ext cx="4589217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3" name="Rounded Rectangle 62"/>
          <p:cNvSpPr/>
          <p:nvPr/>
        </p:nvSpPr>
        <p:spPr bwMode="gray">
          <a:xfrm>
            <a:off x="919532" y="1671711"/>
            <a:ext cx="5923396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1280536" y="2396886"/>
            <a:ext cx="4972031" cy="5309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nnen en vrouwen die erg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instream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zijn, maar wel </a:t>
            </a:r>
          </a:p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nder vertegenwoordigd in de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udere leeftijdscategorie</a:t>
            </a:r>
          </a:p>
        </p:txBody>
      </p:sp>
      <p:sp>
        <p:nvSpPr>
          <p:cNvPr id="48" name="TextBox 47"/>
          <p:cNvSpPr txBox="1"/>
          <p:nvPr/>
        </p:nvSpPr>
        <p:spPr bwMode="gray">
          <a:xfrm>
            <a:off x="773228" y="1039397"/>
            <a:ext cx="1216353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9B1F2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Geef grotere gevolgen aan spoorlopen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18" name="Parallelogram 17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635"/>
            <a:stretch/>
          </p:blipFill>
          <p:spPr>
            <a:xfrm rot="2367436">
              <a:off x="441856" y="152573"/>
              <a:ext cx="187217" cy="266720"/>
            </a:xfrm>
            <a:prstGeom prst="rect">
              <a:avLst/>
            </a:prstGeom>
          </p:spPr>
        </p:pic>
        <p:sp>
          <p:nvSpPr>
            <p:cNvPr id="21" name="Freeform 11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77179" y="400520"/>
              <a:ext cx="149163" cy="173812"/>
            </a:xfrm>
            <a:custGeom>
              <a:avLst/>
              <a:gdLst>
                <a:gd name="T0" fmla="*/ 68 w 1693"/>
                <a:gd name="T1" fmla="*/ 1211 h 1973"/>
                <a:gd name="T2" fmla="*/ 8 w 1693"/>
                <a:gd name="T3" fmla="*/ 900 h 1973"/>
                <a:gd name="T4" fmla="*/ 108 w 1693"/>
                <a:gd name="T5" fmla="*/ 558 h 1973"/>
                <a:gd name="T6" fmla="*/ 340 w 1693"/>
                <a:gd name="T7" fmla="*/ 409 h 1973"/>
                <a:gd name="T8" fmla="*/ 680 w 1693"/>
                <a:gd name="T9" fmla="*/ 705 h 1973"/>
                <a:gd name="T10" fmla="*/ 694 w 1693"/>
                <a:gd name="T11" fmla="*/ 1022 h 1973"/>
                <a:gd name="T12" fmla="*/ 704 w 1693"/>
                <a:gd name="T13" fmla="*/ 1334 h 1973"/>
                <a:gd name="T14" fmla="*/ 711 w 1693"/>
                <a:gd name="T15" fmla="*/ 1369 h 1973"/>
                <a:gd name="T16" fmla="*/ 204 w 1693"/>
                <a:gd name="T17" fmla="*/ 1528 h 1973"/>
                <a:gd name="T18" fmla="*/ 188 w 1693"/>
                <a:gd name="T19" fmla="*/ 1496 h 1973"/>
                <a:gd name="T20" fmla="*/ 68 w 1693"/>
                <a:gd name="T21" fmla="*/ 1211 h 1973"/>
                <a:gd name="T22" fmla="*/ 709 w 1693"/>
                <a:gd name="T23" fmla="*/ 1480 h 1973"/>
                <a:gd name="T24" fmla="*/ 738 w 1693"/>
                <a:gd name="T25" fmla="*/ 1558 h 1973"/>
                <a:gd name="T26" fmla="*/ 610 w 1693"/>
                <a:gd name="T27" fmla="*/ 1929 h 1973"/>
                <a:gd name="T28" fmla="*/ 557 w 1693"/>
                <a:gd name="T29" fmla="*/ 1945 h 1973"/>
                <a:gd name="T30" fmla="*/ 247 w 1693"/>
                <a:gd name="T31" fmla="*/ 1712 h 1973"/>
                <a:gd name="T32" fmla="*/ 230 w 1693"/>
                <a:gd name="T33" fmla="*/ 1636 h 1973"/>
                <a:gd name="T34" fmla="*/ 709 w 1693"/>
                <a:gd name="T35" fmla="*/ 1480 h 1973"/>
                <a:gd name="T36" fmla="*/ 1685 w 1693"/>
                <a:gd name="T37" fmla="*/ 501 h 1973"/>
                <a:gd name="T38" fmla="*/ 1625 w 1693"/>
                <a:gd name="T39" fmla="*/ 813 h 1973"/>
                <a:gd name="T40" fmla="*/ 1504 w 1693"/>
                <a:gd name="T41" fmla="*/ 1098 h 1973"/>
                <a:gd name="T42" fmla="*/ 1489 w 1693"/>
                <a:gd name="T43" fmla="*/ 1129 h 1973"/>
                <a:gd name="T44" fmla="*/ 982 w 1693"/>
                <a:gd name="T45" fmla="*/ 970 h 1973"/>
                <a:gd name="T46" fmla="*/ 989 w 1693"/>
                <a:gd name="T47" fmla="*/ 935 h 1973"/>
                <a:gd name="T48" fmla="*/ 999 w 1693"/>
                <a:gd name="T49" fmla="*/ 624 h 1973"/>
                <a:gd name="T50" fmla="*/ 1013 w 1693"/>
                <a:gd name="T51" fmla="*/ 307 h 1973"/>
                <a:gd name="T52" fmla="*/ 1352 w 1693"/>
                <a:gd name="T53" fmla="*/ 10 h 1973"/>
                <a:gd name="T54" fmla="*/ 1584 w 1693"/>
                <a:gd name="T55" fmla="*/ 159 h 1973"/>
                <a:gd name="T56" fmla="*/ 1685 w 1693"/>
                <a:gd name="T57" fmla="*/ 501 h 1973"/>
                <a:gd name="T58" fmla="*/ 1463 w 1693"/>
                <a:gd name="T59" fmla="*/ 1238 h 1973"/>
                <a:gd name="T60" fmla="*/ 1456 w 1693"/>
                <a:gd name="T61" fmla="*/ 1272 h 1973"/>
                <a:gd name="T62" fmla="*/ 1446 w 1693"/>
                <a:gd name="T63" fmla="*/ 1314 h 1973"/>
                <a:gd name="T64" fmla="*/ 1136 w 1693"/>
                <a:gd name="T65" fmla="*/ 1546 h 1973"/>
                <a:gd name="T66" fmla="*/ 1105 w 1693"/>
                <a:gd name="T67" fmla="*/ 1539 h 1973"/>
                <a:gd name="T68" fmla="*/ 1082 w 1693"/>
                <a:gd name="T69" fmla="*/ 1531 h 1973"/>
                <a:gd name="T70" fmla="*/ 954 w 1693"/>
                <a:gd name="T71" fmla="*/ 1160 h 1973"/>
                <a:gd name="T72" fmla="*/ 970 w 1693"/>
                <a:gd name="T73" fmla="*/ 1117 h 1973"/>
                <a:gd name="T74" fmla="*/ 984 w 1693"/>
                <a:gd name="T75" fmla="*/ 1082 h 1973"/>
                <a:gd name="T76" fmla="*/ 1463 w 1693"/>
                <a:gd name="T77" fmla="*/ 1238 h 1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3" h="1973">
                  <a:moveTo>
                    <a:pt x="68" y="1211"/>
                  </a:moveTo>
                  <a:cubicBezTo>
                    <a:pt x="36" y="1116"/>
                    <a:pt x="16" y="1018"/>
                    <a:pt x="8" y="900"/>
                  </a:cubicBezTo>
                  <a:cubicBezTo>
                    <a:pt x="0" y="783"/>
                    <a:pt x="40" y="653"/>
                    <a:pt x="108" y="558"/>
                  </a:cubicBezTo>
                  <a:cubicBezTo>
                    <a:pt x="163" y="481"/>
                    <a:pt x="243" y="416"/>
                    <a:pt x="340" y="409"/>
                  </a:cubicBezTo>
                  <a:cubicBezTo>
                    <a:pt x="504" y="398"/>
                    <a:pt x="640" y="560"/>
                    <a:pt x="680" y="705"/>
                  </a:cubicBezTo>
                  <a:cubicBezTo>
                    <a:pt x="709" y="810"/>
                    <a:pt x="703" y="915"/>
                    <a:pt x="694" y="1022"/>
                  </a:cubicBezTo>
                  <a:cubicBezTo>
                    <a:pt x="682" y="1148"/>
                    <a:pt x="678" y="1199"/>
                    <a:pt x="704" y="1334"/>
                  </a:cubicBezTo>
                  <a:cubicBezTo>
                    <a:pt x="711" y="1369"/>
                    <a:pt x="711" y="1369"/>
                    <a:pt x="711" y="1369"/>
                  </a:cubicBezTo>
                  <a:cubicBezTo>
                    <a:pt x="542" y="1422"/>
                    <a:pt x="373" y="1474"/>
                    <a:pt x="204" y="1528"/>
                  </a:cubicBezTo>
                  <a:cubicBezTo>
                    <a:pt x="188" y="1496"/>
                    <a:pt x="188" y="1496"/>
                    <a:pt x="188" y="1496"/>
                  </a:cubicBezTo>
                  <a:cubicBezTo>
                    <a:pt x="139" y="1396"/>
                    <a:pt x="98" y="1306"/>
                    <a:pt x="68" y="1211"/>
                  </a:cubicBezTo>
                  <a:close/>
                  <a:moveTo>
                    <a:pt x="709" y="1480"/>
                  </a:moveTo>
                  <a:cubicBezTo>
                    <a:pt x="720" y="1506"/>
                    <a:pt x="730" y="1532"/>
                    <a:pt x="738" y="1558"/>
                  </a:cubicBezTo>
                  <a:cubicBezTo>
                    <a:pt x="782" y="1701"/>
                    <a:pt x="767" y="1867"/>
                    <a:pt x="610" y="1929"/>
                  </a:cubicBezTo>
                  <a:cubicBezTo>
                    <a:pt x="593" y="1936"/>
                    <a:pt x="575" y="1941"/>
                    <a:pt x="557" y="1945"/>
                  </a:cubicBezTo>
                  <a:cubicBezTo>
                    <a:pt x="402" y="1973"/>
                    <a:pt x="288" y="1849"/>
                    <a:pt x="247" y="1712"/>
                  </a:cubicBezTo>
                  <a:cubicBezTo>
                    <a:pt x="239" y="1687"/>
                    <a:pt x="235" y="1662"/>
                    <a:pt x="230" y="1636"/>
                  </a:cubicBezTo>
                  <a:lnTo>
                    <a:pt x="709" y="1480"/>
                  </a:lnTo>
                  <a:close/>
                  <a:moveTo>
                    <a:pt x="1685" y="501"/>
                  </a:moveTo>
                  <a:cubicBezTo>
                    <a:pt x="1677" y="619"/>
                    <a:pt x="1656" y="718"/>
                    <a:pt x="1625" y="813"/>
                  </a:cubicBezTo>
                  <a:cubicBezTo>
                    <a:pt x="1594" y="908"/>
                    <a:pt x="1553" y="997"/>
                    <a:pt x="1504" y="1098"/>
                  </a:cubicBezTo>
                  <a:cubicBezTo>
                    <a:pt x="1489" y="1129"/>
                    <a:pt x="1489" y="1129"/>
                    <a:pt x="1489" y="1129"/>
                  </a:cubicBezTo>
                  <a:cubicBezTo>
                    <a:pt x="982" y="970"/>
                    <a:pt x="982" y="970"/>
                    <a:pt x="982" y="970"/>
                  </a:cubicBezTo>
                  <a:cubicBezTo>
                    <a:pt x="989" y="935"/>
                    <a:pt x="989" y="935"/>
                    <a:pt x="989" y="935"/>
                  </a:cubicBezTo>
                  <a:cubicBezTo>
                    <a:pt x="1015" y="801"/>
                    <a:pt x="1011" y="750"/>
                    <a:pt x="999" y="624"/>
                  </a:cubicBezTo>
                  <a:cubicBezTo>
                    <a:pt x="990" y="517"/>
                    <a:pt x="984" y="412"/>
                    <a:pt x="1013" y="307"/>
                  </a:cubicBezTo>
                  <a:cubicBezTo>
                    <a:pt x="1053" y="162"/>
                    <a:pt x="1189" y="0"/>
                    <a:pt x="1352" y="10"/>
                  </a:cubicBezTo>
                  <a:cubicBezTo>
                    <a:pt x="1450" y="17"/>
                    <a:pt x="1530" y="83"/>
                    <a:pt x="1584" y="159"/>
                  </a:cubicBezTo>
                  <a:cubicBezTo>
                    <a:pt x="1652" y="255"/>
                    <a:pt x="1693" y="385"/>
                    <a:pt x="1685" y="501"/>
                  </a:cubicBezTo>
                  <a:close/>
                  <a:moveTo>
                    <a:pt x="1463" y="1238"/>
                  </a:moveTo>
                  <a:cubicBezTo>
                    <a:pt x="1456" y="1272"/>
                    <a:pt x="1456" y="1272"/>
                    <a:pt x="1456" y="1272"/>
                  </a:cubicBezTo>
                  <a:cubicBezTo>
                    <a:pt x="1454" y="1286"/>
                    <a:pt x="1450" y="1300"/>
                    <a:pt x="1446" y="1314"/>
                  </a:cubicBezTo>
                  <a:cubicBezTo>
                    <a:pt x="1404" y="1451"/>
                    <a:pt x="1291" y="1575"/>
                    <a:pt x="1136" y="1546"/>
                  </a:cubicBezTo>
                  <a:cubicBezTo>
                    <a:pt x="1126" y="1544"/>
                    <a:pt x="1115" y="1542"/>
                    <a:pt x="1105" y="1539"/>
                  </a:cubicBezTo>
                  <a:cubicBezTo>
                    <a:pt x="1097" y="1536"/>
                    <a:pt x="1090" y="1534"/>
                    <a:pt x="1082" y="1531"/>
                  </a:cubicBezTo>
                  <a:cubicBezTo>
                    <a:pt x="895" y="1456"/>
                    <a:pt x="904" y="1323"/>
                    <a:pt x="954" y="1160"/>
                  </a:cubicBezTo>
                  <a:cubicBezTo>
                    <a:pt x="959" y="1146"/>
                    <a:pt x="964" y="1131"/>
                    <a:pt x="970" y="1117"/>
                  </a:cubicBezTo>
                  <a:cubicBezTo>
                    <a:pt x="984" y="1082"/>
                    <a:pt x="984" y="1082"/>
                    <a:pt x="984" y="1082"/>
                  </a:cubicBezTo>
                  <a:lnTo>
                    <a:pt x="1463" y="12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 bwMode="gray">
          <a:xfrm>
            <a:off x="1280536" y="2055882"/>
            <a:ext cx="8280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E?</a:t>
            </a:r>
          </a:p>
        </p:txBody>
      </p:sp>
      <p:sp>
        <p:nvSpPr>
          <p:cNvPr id="38" name="TextBox 37"/>
          <p:cNvSpPr txBox="1"/>
          <p:nvPr/>
        </p:nvSpPr>
        <p:spPr bwMode="gray">
          <a:xfrm>
            <a:off x="1280536" y="5485383"/>
            <a:ext cx="497203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Ze zijn zich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wust van de gevar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 maar ze lopen over de sporen omdat ze overtuigd zijn dat ze de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ren ervan kunnen inschatt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en er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ijd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mee kunne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nn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Oval 11"/>
          <p:cNvSpPr/>
          <p:nvPr/>
        </p:nvSpPr>
        <p:spPr bwMode="gray">
          <a:xfrm>
            <a:off x="1895529" y="281583"/>
            <a:ext cx="1920000" cy="1920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4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endParaRPr lang="fr-BE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fr-BE" b="1" dirty="0" err="1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Rebelling</a:t>
            </a:r>
            <a:r>
              <a:rPr lang="fr-BE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fr-BE" b="1" dirty="0" err="1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risk</a:t>
            </a:r>
            <a:r>
              <a:rPr lang="fr-BE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fr-BE" b="1" dirty="0" err="1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takers</a:t>
            </a:r>
            <a: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32%</a:t>
            </a:r>
            <a:b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endParaRPr lang="nl-BE" sz="2400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 bwMode="gray">
          <a:xfrm>
            <a:off x="1280536" y="3538990"/>
            <a:ext cx="23515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T DOEN ZE?</a:t>
            </a:r>
          </a:p>
        </p:txBody>
      </p:sp>
      <p:sp>
        <p:nvSpPr>
          <p:cNvPr id="41" name="TextBox 40"/>
          <p:cNvSpPr txBox="1"/>
          <p:nvPr/>
        </p:nvSpPr>
        <p:spPr bwMode="gray">
          <a:xfrm>
            <a:off x="1280536" y="5177147"/>
            <a:ext cx="488067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AROM LOPEN ZE OVER DE SPOREN?</a:t>
            </a:r>
          </a:p>
        </p:txBody>
      </p:sp>
      <p:sp>
        <p:nvSpPr>
          <p:cNvPr id="42" name="TextBox 41"/>
          <p:cNvSpPr txBox="1"/>
          <p:nvPr/>
        </p:nvSpPr>
        <p:spPr bwMode="gray">
          <a:xfrm>
            <a:off x="1280536" y="3902780"/>
            <a:ext cx="474941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</a:t>
            </a:r>
            <a:r>
              <a:rPr lang="nl-BE" sz="16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eft minstens 1 keer één van de gedragingen </a:t>
            </a:r>
            <a:b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e spoorlopen definiëren gesteld in de afgelopen </a:t>
            </a:r>
            <a:b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, maar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ens ze ermee beginnen, </a:t>
            </a:r>
            <a:b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en ze het erg vaak</a:t>
            </a:r>
          </a:p>
        </p:txBody>
      </p:sp>
      <p:graphicFrame>
        <p:nvGraphicFramePr>
          <p:cNvPr id="65" name="Chart 64"/>
          <p:cNvGraphicFramePr/>
          <p:nvPr>
            <p:extLst>
              <p:ext uri="{D42A27DB-BD31-4B8C-83A1-F6EECF244321}">
                <p14:modId xmlns:p14="http://schemas.microsoft.com/office/powerpoint/2010/main" val="108615880"/>
              </p:ext>
            </p:extLst>
          </p:nvPr>
        </p:nvGraphicFramePr>
        <p:xfrm>
          <a:off x="7951969" y="2134448"/>
          <a:ext cx="2424182" cy="1390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66" name="Freeform 3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653754" y="1996183"/>
            <a:ext cx="354052" cy="258657"/>
          </a:xfrm>
          <a:custGeom>
            <a:avLst/>
            <a:gdLst>
              <a:gd name="T0" fmla="*/ 160 w 2080"/>
              <a:gd name="T1" fmla="*/ 0 h 1520"/>
              <a:gd name="T2" fmla="*/ 1920 w 2080"/>
              <a:gd name="T3" fmla="*/ 0 h 1520"/>
              <a:gd name="T4" fmla="*/ 2080 w 2080"/>
              <a:gd name="T5" fmla="*/ 160 h 1520"/>
              <a:gd name="T6" fmla="*/ 2080 w 2080"/>
              <a:gd name="T7" fmla="*/ 1360 h 1520"/>
              <a:gd name="T8" fmla="*/ 1920 w 2080"/>
              <a:gd name="T9" fmla="*/ 1520 h 1520"/>
              <a:gd name="T10" fmla="*/ 160 w 2080"/>
              <a:gd name="T11" fmla="*/ 1520 h 1520"/>
              <a:gd name="T12" fmla="*/ 0 w 2080"/>
              <a:gd name="T13" fmla="*/ 1360 h 1520"/>
              <a:gd name="T14" fmla="*/ 0 w 2080"/>
              <a:gd name="T15" fmla="*/ 160 h 1520"/>
              <a:gd name="T16" fmla="*/ 160 w 2080"/>
              <a:gd name="T17" fmla="*/ 0 h 1520"/>
              <a:gd name="T18" fmla="*/ 1120 w 2080"/>
              <a:gd name="T19" fmla="*/ 320 h 1520"/>
              <a:gd name="T20" fmla="*/ 1120 w 2080"/>
              <a:gd name="T21" fmla="*/ 1360 h 1520"/>
              <a:gd name="T22" fmla="*/ 1920 w 2080"/>
              <a:gd name="T23" fmla="*/ 1360 h 1520"/>
              <a:gd name="T24" fmla="*/ 1920 w 2080"/>
              <a:gd name="T25" fmla="*/ 320 h 1520"/>
              <a:gd name="T26" fmla="*/ 1120 w 2080"/>
              <a:gd name="T27" fmla="*/ 320 h 1520"/>
              <a:gd name="T28" fmla="*/ 1840 w 2080"/>
              <a:gd name="T29" fmla="*/ 400 h 1520"/>
              <a:gd name="T30" fmla="*/ 1840 w 2080"/>
              <a:gd name="T31" fmla="*/ 1200 h 1520"/>
              <a:gd name="T32" fmla="*/ 1816 w 2080"/>
              <a:gd name="T33" fmla="*/ 1170 h 1520"/>
              <a:gd name="T34" fmla="*/ 1750 w 2080"/>
              <a:gd name="T35" fmla="*/ 1136 h 1520"/>
              <a:gd name="T36" fmla="*/ 1660 w 2080"/>
              <a:gd name="T37" fmla="*/ 1102 h 1520"/>
              <a:gd name="T38" fmla="*/ 1625 w 2080"/>
              <a:gd name="T39" fmla="*/ 996 h 1520"/>
              <a:gd name="T40" fmla="*/ 1689 w 2080"/>
              <a:gd name="T41" fmla="*/ 871 h 1520"/>
              <a:gd name="T42" fmla="*/ 1724 w 2080"/>
              <a:gd name="T43" fmla="*/ 779 h 1520"/>
              <a:gd name="T44" fmla="*/ 1731 w 2080"/>
              <a:gd name="T45" fmla="*/ 671 h 1520"/>
              <a:gd name="T46" fmla="*/ 1568 w 2080"/>
              <a:gd name="T47" fmla="*/ 545 h 1520"/>
              <a:gd name="T48" fmla="*/ 1511 w 2080"/>
              <a:gd name="T49" fmla="*/ 521 h 1520"/>
              <a:gd name="T50" fmla="*/ 1309 w 2080"/>
              <a:gd name="T51" fmla="*/ 672 h 1520"/>
              <a:gd name="T52" fmla="*/ 1316 w 2080"/>
              <a:gd name="T53" fmla="*/ 779 h 1520"/>
              <a:gd name="T54" fmla="*/ 1351 w 2080"/>
              <a:gd name="T55" fmla="*/ 871 h 1520"/>
              <a:gd name="T56" fmla="*/ 1415 w 2080"/>
              <a:gd name="T57" fmla="*/ 996 h 1520"/>
              <a:gd name="T58" fmla="*/ 1380 w 2080"/>
              <a:gd name="T59" fmla="*/ 1102 h 1520"/>
              <a:gd name="T60" fmla="*/ 1290 w 2080"/>
              <a:gd name="T61" fmla="*/ 1136 h 1520"/>
              <a:gd name="T62" fmla="*/ 1224 w 2080"/>
              <a:gd name="T63" fmla="*/ 1170 h 1520"/>
              <a:gd name="T64" fmla="*/ 1200 w 2080"/>
              <a:gd name="T65" fmla="*/ 1200 h 1520"/>
              <a:gd name="T66" fmla="*/ 1200 w 2080"/>
              <a:gd name="T67" fmla="*/ 400 h 1520"/>
              <a:gd name="T68" fmla="*/ 1840 w 2080"/>
              <a:gd name="T69" fmla="*/ 400 h 1520"/>
              <a:gd name="T70" fmla="*/ 240 w 2080"/>
              <a:gd name="T71" fmla="*/ 480 h 1520"/>
              <a:gd name="T72" fmla="*/ 240 w 2080"/>
              <a:gd name="T73" fmla="*/ 560 h 1520"/>
              <a:gd name="T74" fmla="*/ 959 w 2080"/>
              <a:gd name="T75" fmla="*/ 560 h 1520"/>
              <a:gd name="T76" fmla="*/ 959 w 2080"/>
              <a:gd name="T77" fmla="*/ 480 h 1520"/>
              <a:gd name="T78" fmla="*/ 240 w 2080"/>
              <a:gd name="T79" fmla="*/ 480 h 1520"/>
              <a:gd name="T80" fmla="*/ 241 w 2080"/>
              <a:gd name="T81" fmla="*/ 719 h 1520"/>
              <a:gd name="T82" fmla="*/ 241 w 2080"/>
              <a:gd name="T83" fmla="*/ 799 h 1520"/>
              <a:gd name="T84" fmla="*/ 960 w 2080"/>
              <a:gd name="T85" fmla="*/ 799 h 1520"/>
              <a:gd name="T86" fmla="*/ 960 w 2080"/>
              <a:gd name="T87" fmla="*/ 719 h 1520"/>
              <a:gd name="T88" fmla="*/ 241 w 2080"/>
              <a:gd name="T89" fmla="*/ 719 h 1520"/>
              <a:gd name="T90" fmla="*/ 241 w 2080"/>
              <a:gd name="T91" fmla="*/ 960 h 1520"/>
              <a:gd name="T92" fmla="*/ 241 w 2080"/>
              <a:gd name="T93" fmla="*/ 1040 h 1520"/>
              <a:gd name="T94" fmla="*/ 720 w 2080"/>
              <a:gd name="T95" fmla="*/ 1040 h 1520"/>
              <a:gd name="T96" fmla="*/ 720 w 2080"/>
              <a:gd name="T97" fmla="*/ 960 h 1520"/>
              <a:gd name="T98" fmla="*/ 241 w 2080"/>
              <a:gd name="T99" fmla="*/ 96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520">
                <a:moveTo>
                  <a:pt x="160" y="0"/>
                </a:moveTo>
                <a:cubicBezTo>
                  <a:pt x="1920" y="0"/>
                  <a:pt x="1920" y="0"/>
                  <a:pt x="1920" y="0"/>
                </a:cubicBezTo>
                <a:cubicBezTo>
                  <a:pt x="2008" y="0"/>
                  <a:pt x="2080" y="72"/>
                  <a:pt x="2080" y="160"/>
                </a:cubicBezTo>
                <a:cubicBezTo>
                  <a:pt x="2080" y="1360"/>
                  <a:pt x="2080" y="1360"/>
                  <a:pt x="2080" y="1360"/>
                </a:cubicBezTo>
                <a:cubicBezTo>
                  <a:pt x="2080" y="1448"/>
                  <a:pt x="2008" y="1520"/>
                  <a:pt x="1920" y="1520"/>
                </a:cubicBezTo>
                <a:cubicBezTo>
                  <a:pt x="160" y="1520"/>
                  <a:pt x="160" y="1520"/>
                  <a:pt x="160" y="1520"/>
                </a:cubicBezTo>
                <a:cubicBezTo>
                  <a:pt x="72" y="1520"/>
                  <a:pt x="0" y="1448"/>
                  <a:pt x="0" y="13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72"/>
                  <a:pt x="72" y="0"/>
                  <a:pt x="160" y="0"/>
                </a:cubicBezTo>
                <a:close/>
                <a:moveTo>
                  <a:pt x="1120" y="320"/>
                </a:moveTo>
                <a:cubicBezTo>
                  <a:pt x="1120" y="1360"/>
                  <a:pt x="1120" y="1360"/>
                  <a:pt x="1120" y="1360"/>
                </a:cubicBezTo>
                <a:cubicBezTo>
                  <a:pt x="1920" y="1360"/>
                  <a:pt x="1920" y="1360"/>
                  <a:pt x="1920" y="1360"/>
                </a:cubicBezTo>
                <a:cubicBezTo>
                  <a:pt x="1920" y="320"/>
                  <a:pt x="1920" y="320"/>
                  <a:pt x="1920" y="320"/>
                </a:cubicBezTo>
                <a:lnTo>
                  <a:pt x="1120" y="320"/>
                </a:lnTo>
                <a:close/>
                <a:moveTo>
                  <a:pt x="1840" y="400"/>
                </a:moveTo>
                <a:cubicBezTo>
                  <a:pt x="1840" y="1200"/>
                  <a:pt x="1840" y="1200"/>
                  <a:pt x="1840" y="1200"/>
                </a:cubicBezTo>
                <a:cubicBezTo>
                  <a:pt x="1833" y="1189"/>
                  <a:pt x="1825" y="1178"/>
                  <a:pt x="1816" y="1170"/>
                </a:cubicBezTo>
                <a:cubicBezTo>
                  <a:pt x="1799" y="1154"/>
                  <a:pt x="1772" y="1144"/>
                  <a:pt x="1750" y="1136"/>
                </a:cubicBezTo>
                <a:cubicBezTo>
                  <a:pt x="1714" y="1123"/>
                  <a:pt x="1693" y="1122"/>
                  <a:pt x="1660" y="1102"/>
                </a:cubicBezTo>
                <a:cubicBezTo>
                  <a:pt x="1628" y="1083"/>
                  <a:pt x="1626" y="1029"/>
                  <a:pt x="1625" y="996"/>
                </a:cubicBezTo>
                <a:cubicBezTo>
                  <a:pt x="1654" y="968"/>
                  <a:pt x="1679" y="908"/>
                  <a:pt x="1689" y="871"/>
                </a:cubicBezTo>
                <a:cubicBezTo>
                  <a:pt x="1722" y="855"/>
                  <a:pt x="1734" y="813"/>
                  <a:pt x="1724" y="779"/>
                </a:cubicBezTo>
                <a:cubicBezTo>
                  <a:pt x="1731" y="671"/>
                  <a:pt x="1731" y="671"/>
                  <a:pt x="1731" y="671"/>
                </a:cubicBezTo>
                <a:cubicBezTo>
                  <a:pt x="1738" y="594"/>
                  <a:pt x="1645" y="507"/>
                  <a:pt x="1568" y="545"/>
                </a:cubicBezTo>
                <a:cubicBezTo>
                  <a:pt x="1548" y="532"/>
                  <a:pt x="1536" y="525"/>
                  <a:pt x="1511" y="521"/>
                </a:cubicBezTo>
                <a:cubicBezTo>
                  <a:pt x="1413" y="505"/>
                  <a:pt x="1307" y="564"/>
                  <a:pt x="1309" y="672"/>
                </a:cubicBezTo>
                <a:cubicBezTo>
                  <a:pt x="1316" y="779"/>
                  <a:pt x="1316" y="779"/>
                  <a:pt x="1316" y="779"/>
                </a:cubicBezTo>
                <a:cubicBezTo>
                  <a:pt x="1306" y="812"/>
                  <a:pt x="1318" y="855"/>
                  <a:pt x="1351" y="871"/>
                </a:cubicBezTo>
                <a:cubicBezTo>
                  <a:pt x="1361" y="909"/>
                  <a:pt x="1387" y="969"/>
                  <a:pt x="1415" y="996"/>
                </a:cubicBezTo>
                <a:cubicBezTo>
                  <a:pt x="1415" y="1028"/>
                  <a:pt x="1410" y="1084"/>
                  <a:pt x="1380" y="1102"/>
                </a:cubicBezTo>
                <a:cubicBezTo>
                  <a:pt x="1347" y="1122"/>
                  <a:pt x="1326" y="1123"/>
                  <a:pt x="1290" y="1136"/>
                </a:cubicBezTo>
                <a:cubicBezTo>
                  <a:pt x="1268" y="1144"/>
                  <a:pt x="1241" y="1154"/>
                  <a:pt x="1224" y="1170"/>
                </a:cubicBezTo>
                <a:cubicBezTo>
                  <a:pt x="1215" y="1178"/>
                  <a:pt x="1207" y="1189"/>
                  <a:pt x="1200" y="1200"/>
                </a:cubicBezTo>
                <a:cubicBezTo>
                  <a:pt x="1200" y="400"/>
                  <a:pt x="1200" y="400"/>
                  <a:pt x="1200" y="400"/>
                </a:cubicBezTo>
                <a:lnTo>
                  <a:pt x="1840" y="400"/>
                </a:lnTo>
                <a:close/>
                <a:moveTo>
                  <a:pt x="240" y="480"/>
                </a:moveTo>
                <a:cubicBezTo>
                  <a:pt x="240" y="560"/>
                  <a:pt x="240" y="560"/>
                  <a:pt x="240" y="560"/>
                </a:cubicBezTo>
                <a:cubicBezTo>
                  <a:pt x="959" y="560"/>
                  <a:pt x="959" y="560"/>
                  <a:pt x="959" y="560"/>
                </a:cubicBezTo>
                <a:cubicBezTo>
                  <a:pt x="959" y="480"/>
                  <a:pt x="959" y="480"/>
                  <a:pt x="959" y="480"/>
                </a:cubicBezTo>
                <a:lnTo>
                  <a:pt x="240" y="480"/>
                </a:lnTo>
                <a:close/>
                <a:moveTo>
                  <a:pt x="241" y="719"/>
                </a:moveTo>
                <a:cubicBezTo>
                  <a:pt x="241" y="799"/>
                  <a:pt x="241" y="799"/>
                  <a:pt x="241" y="799"/>
                </a:cubicBezTo>
                <a:cubicBezTo>
                  <a:pt x="960" y="799"/>
                  <a:pt x="960" y="799"/>
                  <a:pt x="960" y="799"/>
                </a:cubicBezTo>
                <a:cubicBezTo>
                  <a:pt x="960" y="719"/>
                  <a:pt x="960" y="719"/>
                  <a:pt x="960" y="719"/>
                </a:cubicBezTo>
                <a:lnTo>
                  <a:pt x="241" y="719"/>
                </a:lnTo>
                <a:close/>
                <a:moveTo>
                  <a:pt x="241" y="960"/>
                </a:moveTo>
                <a:cubicBezTo>
                  <a:pt x="241" y="1040"/>
                  <a:pt x="241" y="1040"/>
                  <a:pt x="241" y="1040"/>
                </a:cubicBezTo>
                <a:cubicBezTo>
                  <a:pt x="720" y="1040"/>
                  <a:pt x="720" y="1040"/>
                  <a:pt x="720" y="1040"/>
                </a:cubicBezTo>
                <a:cubicBezTo>
                  <a:pt x="720" y="960"/>
                  <a:pt x="720" y="960"/>
                  <a:pt x="720" y="960"/>
                </a:cubicBezTo>
                <a:lnTo>
                  <a:pt x="241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 bwMode="gray">
          <a:xfrm>
            <a:off x="8749517" y="191732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eftijd</a:t>
            </a:r>
          </a:p>
        </p:txBody>
      </p:sp>
      <p:cxnSp>
        <p:nvCxnSpPr>
          <p:cNvPr id="69" name="Straight Connector 68"/>
          <p:cNvCxnSpPr/>
          <p:nvPr/>
        </p:nvCxnSpPr>
        <p:spPr>
          <a:xfrm flipV="1">
            <a:off x="8895862" y="4065447"/>
            <a:ext cx="90000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 bwMode="gray">
          <a:xfrm>
            <a:off x="9724809" y="4224291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%</a:t>
            </a:r>
          </a:p>
        </p:txBody>
      </p:sp>
      <p:sp>
        <p:nvSpPr>
          <p:cNvPr id="71" name="TextBox 70"/>
          <p:cNvSpPr txBox="1"/>
          <p:nvPr/>
        </p:nvSpPr>
        <p:spPr bwMode="gray">
          <a:xfrm>
            <a:off x="8643338" y="4135580"/>
            <a:ext cx="13550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an het ene perron naar het andere gaan</a:t>
            </a:r>
          </a:p>
        </p:txBody>
      </p:sp>
      <p:sp>
        <p:nvSpPr>
          <p:cNvPr id="72" name="TextBox 71"/>
          <p:cNvSpPr txBox="1"/>
          <p:nvPr/>
        </p:nvSpPr>
        <p:spPr bwMode="gray">
          <a:xfrm>
            <a:off x="9748450" y="4539474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5%</a:t>
            </a:r>
          </a:p>
        </p:txBody>
      </p:sp>
      <p:sp>
        <p:nvSpPr>
          <p:cNvPr id="74" name="TextBox 73"/>
          <p:cNvSpPr txBox="1"/>
          <p:nvPr/>
        </p:nvSpPr>
        <p:spPr bwMode="gray">
          <a:xfrm>
            <a:off x="8657306" y="4859868"/>
            <a:ext cx="13550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 een hek klimmen naast een spoorweg</a:t>
            </a:r>
          </a:p>
        </p:txBody>
      </p:sp>
      <p:sp>
        <p:nvSpPr>
          <p:cNvPr id="75" name="TextBox 74"/>
          <p:cNvSpPr txBox="1"/>
          <p:nvPr/>
        </p:nvSpPr>
        <p:spPr bwMode="gray">
          <a:xfrm>
            <a:off x="9762125" y="4944371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5%</a:t>
            </a:r>
          </a:p>
        </p:txBody>
      </p:sp>
      <p:sp>
        <p:nvSpPr>
          <p:cNvPr id="76" name="TextBox 75"/>
          <p:cNvSpPr txBox="1"/>
          <p:nvPr/>
        </p:nvSpPr>
        <p:spPr bwMode="gray">
          <a:xfrm>
            <a:off x="8612857" y="4569230"/>
            <a:ext cx="14289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oren oversteken</a:t>
            </a:r>
          </a:p>
        </p:txBody>
      </p:sp>
      <p:sp>
        <p:nvSpPr>
          <p:cNvPr id="77" name="Freeform 1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668729" y="3621960"/>
            <a:ext cx="292481" cy="340814"/>
          </a:xfrm>
          <a:custGeom>
            <a:avLst/>
            <a:gdLst>
              <a:gd name="T0" fmla="*/ 68 w 1693"/>
              <a:gd name="T1" fmla="*/ 1211 h 1973"/>
              <a:gd name="T2" fmla="*/ 8 w 1693"/>
              <a:gd name="T3" fmla="*/ 900 h 1973"/>
              <a:gd name="T4" fmla="*/ 108 w 1693"/>
              <a:gd name="T5" fmla="*/ 558 h 1973"/>
              <a:gd name="T6" fmla="*/ 340 w 1693"/>
              <a:gd name="T7" fmla="*/ 409 h 1973"/>
              <a:gd name="T8" fmla="*/ 680 w 1693"/>
              <a:gd name="T9" fmla="*/ 705 h 1973"/>
              <a:gd name="T10" fmla="*/ 694 w 1693"/>
              <a:gd name="T11" fmla="*/ 1022 h 1973"/>
              <a:gd name="T12" fmla="*/ 704 w 1693"/>
              <a:gd name="T13" fmla="*/ 1334 h 1973"/>
              <a:gd name="T14" fmla="*/ 711 w 1693"/>
              <a:gd name="T15" fmla="*/ 1369 h 1973"/>
              <a:gd name="T16" fmla="*/ 204 w 1693"/>
              <a:gd name="T17" fmla="*/ 1528 h 1973"/>
              <a:gd name="T18" fmla="*/ 188 w 1693"/>
              <a:gd name="T19" fmla="*/ 1496 h 1973"/>
              <a:gd name="T20" fmla="*/ 68 w 1693"/>
              <a:gd name="T21" fmla="*/ 1211 h 1973"/>
              <a:gd name="T22" fmla="*/ 709 w 1693"/>
              <a:gd name="T23" fmla="*/ 1480 h 1973"/>
              <a:gd name="T24" fmla="*/ 738 w 1693"/>
              <a:gd name="T25" fmla="*/ 1558 h 1973"/>
              <a:gd name="T26" fmla="*/ 610 w 1693"/>
              <a:gd name="T27" fmla="*/ 1929 h 1973"/>
              <a:gd name="T28" fmla="*/ 557 w 1693"/>
              <a:gd name="T29" fmla="*/ 1945 h 1973"/>
              <a:gd name="T30" fmla="*/ 247 w 1693"/>
              <a:gd name="T31" fmla="*/ 1712 h 1973"/>
              <a:gd name="T32" fmla="*/ 230 w 1693"/>
              <a:gd name="T33" fmla="*/ 1636 h 1973"/>
              <a:gd name="T34" fmla="*/ 709 w 1693"/>
              <a:gd name="T35" fmla="*/ 1480 h 1973"/>
              <a:gd name="T36" fmla="*/ 1685 w 1693"/>
              <a:gd name="T37" fmla="*/ 501 h 1973"/>
              <a:gd name="T38" fmla="*/ 1625 w 1693"/>
              <a:gd name="T39" fmla="*/ 813 h 1973"/>
              <a:gd name="T40" fmla="*/ 1504 w 1693"/>
              <a:gd name="T41" fmla="*/ 1098 h 1973"/>
              <a:gd name="T42" fmla="*/ 1489 w 1693"/>
              <a:gd name="T43" fmla="*/ 1129 h 1973"/>
              <a:gd name="T44" fmla="*/ 982 w 1693"/>
              <a:gd name="T45" fmla="*/ 970 h 1973"/>
              <a:gd name="T46" fmla="*/ 989 w 1693"/>
              <a:gd name="T47" fmla="*/ 935 h 1973"/>
              <a:gd name="T48" fmla="*/ 999 w 1693"/>
              <a:gd name="T49" fmla="*/ 624 h 1973"/>
              <a:gd name="T50" fmla="*/ 1013 w 1693"/>
              <a:gd name="T51" fmla="*/ 307 h 1973"/>
              <a:gd name="T52" fmla="*/ 1352 w 1693"/>
              <a:gd name="T53" fmla="*/ 10 h 1973"/>
              <a:gd name="T54" fmla="*/ 1584 w 1693"/>
              <a:gd name="T55" fmla="*/ 159 h 1973"/>
              <a:gd name="T56" fmla="*/ 1685 w 1693"/>
              <a:gd name="T57" fmla="*/ 501 h 1973"/>
              <a:gd name="T58" fmla="*/ 1463 w 1693"/>
              <a:gd name="T59" fmla="*/ 1238 h 1973"/>
              <a:gd name="T60" fmla="*/ 1456 w 1693"/>
              <a:gd name="T61" fmla="*/ 1272 h 1973"/>
              <a:gd name="T62" fmla="*/ 1446 w 1693"/>
              <a:gd name="T63" fmla="*/ 1314 h 1973"/>
              <a:gd name="T64" fmla="*/ 1136 w 1693"/>
              <a:gd name="T65" fmla="*/ 1546 h 1973"/>
              <a:gd name="T66" fmla="*/ 1105 w 1693"/>
              <a:gd name="T67" fmla="*/ 1539 h 1973"/>
              <a:gd name="T68" fmla="*/ 1082 w 1693"/>
              <a:gd name="T69" fmla="*/ 1531 h 1973"/>
              <a:gd name="T70" fmla="*/ 954 w 1693"/>
              <a:gd name="T71" fmla="*/ 1160 h 1973"/>
              <a:gd name="T72" fmla="*/ 970 w 1693"/>
              <a:gd name="T73" fmla="*/ 1117 h 1973"/>
              <a:gd name="T74" fmla="*/ 984 w 1693"/>
              <a:gd name="T75" fmla="*/ 1082 h 1973"/>
              <a:gd name="T76" fmla="*/ 1463 w 1693"/>
              <a:gd name="T77" fmla="*/ 1238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3" h="1973">
                <a:moveTo>
                  <a:pt x="68" y="1211"/>
                </a:moveTo>
                <a:cubicBezTo>
                  <a:pt x="36" y="1116"/>
                  <a:pt x="16" y="1018"/>
                  <a:pt x="8" y="900"/>
                </a:cubicBezTo>
                <a:cubicBezTo>
                  <a:pt x="0" y="783"/>
                  <a:pt x="40" y="653"/>
                  <a:pt x="108" y="558"/>
                </a:cubicBezTo>
                <a:cubicBezTo>
                  <a:pt x="163" y="481"/>
                  <a:pt x="243" y="416"/>
                  <a:pt x="340" y="409"/>
                </a:cubicBezTo>
                <a:cubicBezTo>
                  <a:pt x="504" y="398"/>
                  <a:pt x="640" y="560"/>
                  <a:pt x="680" y="705"/>
                </a:cubicBezTo>
                <a:cubicBezTo>
                  <a:pt x="709" y="810"/>
                  <a:pt x="703" y="915"/>
                  <a:pt x="694" y="1022"/>
                </a:cubicBezTo>
                <a:cubicBezTo>
                  <a:pt x="682" y="1148"/>
                  <a:pt x="678" y="1199"/>
                  <a:pt x="704" y="1334"/>
                </a:cubicBezTo>
                <a:cubicBezTo>
                  <a:pt x="711" y="1369"/>
                  <a:pt x="711" y="1369"/>
                  <a:pt x="711" y="1369"/>
                </a:cubicBezTo>
                <a:cubicBezTo>
                  <a:pt x="542" y="1422"/>
                  <a:pt x="373" y="1474"/>
                  <a:pt x="204" y="1528"/>
                </a:cubicBezTo>
                <a:cubicBezTo>
                  <a:pt x="188" y="1496"/>
                  <a:pt x="188" y="1496"/>
                  <a:pt x="188" y="1496"/>
                </a:cubicBezTo>
                <a:cubicBezTo>
                  <a:pt x="139" y="1396"/>
                  <a:pt x="98" y="1306"/>
                  <a:pt x="68" y="1211"/>
                </a:cubicBezTo>
                <a:close/>
                <a:moveTo>
                  <a:pt x="709" y="1480"/>
                </a:moveTo>
                <a:cubicBezTo>
                  <a:pt x="720" y="1506"/>
                  <a:pt x="730" y="1532"/>
                  <a:pt x="738" y="1558"/>
                </a:cubicBezTo>
                <a:cubicBezTo>
                  <a:pt x="782" y="1701"/>
                  <a:pt x="767" y="1867"/>
                  <a:pt x="610" y="1929"/>
                </a:cubicBezTo>
                <a:cubicBezTo>
                  <a:pt x="593" y="1936"/>
                  <a:pt x="575" y="1941"/>
                  <a:pt x="557" y="1945"/>
                </a:cubicBezTo>
                <a:cubicBezTo>
                  <a:pt x="402" y="1973"/>
                  <a:pt x="288" y="1849"/>
                  <a:pt x="247" y="1712"/>
                </a:cubicBezTo>
                <a:cubicBezTo>
                  <a:pt x="239" y="1687"/>
                  <a:pt x="235" y="1662"/>
                  <a:pt x="230" y="1636"/>
                </a:cubicBezTo>
                <a:lnTo>
                  <a:pt x="709" y="1480"/>
                </a:lnTo>
                <a:close/>
                <a:moveTo>
                  <a:pt x="1685" y="501"/>
                </a:moveTo>
                <a:cubicBezTo>
                  <a:pt x="1677" y="619"/>
                  <a:pt x="1656" y="718"/>
                  <a:pt x="1625" y="813"/>
                </a:cubicBezTo>
                <a:cubicBezTo>
                  <a:pt x="1594" y="908"/>
                  <a:pt x="1553" y="997"/>
                  <a:pt x="1504" y="1098"/>
                </a:cubicBezTo>
                <a:cubicBezTo>
                  <a:pt x="1489" y="1129"/>
                  <a:pt x="1489" y="1129"/>
                  <a:pt x="1489" y="1129"/>
                </a:cubicBezTo>
                <a:cubicBezTo>
                  <a:pt x="982" y="970"/>
                  <a:pt x="982" y="970"/>
                  <a:pt x="982" y="970"/>
                </a:cubicBezTo>
                <a:cubicBezTo>
                  <a:pt x="989" y="935"/>
                  <a:pt x="989" y="935"/>
                  <a:pt x="989" y="935"/>
                </a:cubicBezTo>
                <a:cubicBezTo>
                  <a:pt x="1015" y="801"/>
                  <a:pt x="1011" y="750"/>
                  <a:pt x="999" y="624"/>
                </a:cubicBezTo>
                <a:cubicBezTo>
                  <a:pt x="990" y="517"/>
                  <a:pt x="984" y="412"/>
                  <a:pt x="1013" y="307"/>
                </a:cubicBezTo>
                <a:cubicBezTo>
                  <a:pt x="1053" y="162"/>
                  <a:pt x="1189" y="0"/>
                  <a:pt x="1352" y="10"/>
                </a:cubicBezTo>
                <a:cubicBezTo>
                  <a:pt x="1450" y="17"/>
                  <a:pt x="1530" y="83"/>
                  <a:pt x="1584" y="159"/>
                </a:cubicBezTo>
                <a:cubicBezTo>
                  <a:pt x="1652" y="255"/>
                  <a:pt x="1693" y="385"/>
                  <a:pt x="1685" y="501"/>
                </a:cubicBezTo>
                <a:close/>
                <a:moveTo>
                  <a:pt x="1463" y="1238"/>
                </a:moveTo>
                <a:cubicBezTo>
                  <a:pt x="1456" y="1272"/>
                  <a:pt x="1456" y="1272"/>
                  <a:pt x="1456" y="1272"/>
                </a:cubicBezTo>
                <a:cubicBezTo>
                  <a:pt x="1454" y="1286"/>
                  <a:pt x="1450" y="1300"/>
                  <a:pt x="1446" y="1314"/>
                </a:cubicBezTo>
                <a:cubicBezTo>
                  <a:pt x="1404" y="1451"/>
                  <a:pt x="1291" y="1575"/>
                  <a:pt x="1136" y="1546"/>
                </a:cubicBezTo>
                <a:cubicBezTo>
                  <a:pt x="1126" y="1544"/>
                  <a:pt x="1115" y="1542"/>
                  <a:pt x="1105" y="1539"/>
                </a:cubicBezTo>
                <a:cubicBezTo>
                  <a:pt x="1097" y="1536"/>
                  <a:pt x="1090" y="1534"/>
                  <a:pt x="1082" y="1531"/>
                </a:cubicBezTo>
                <a:cubicBezTo>
                  <a:pt x="895" y="1456"/>
                  <a:pt x="904" y="1323"/>
                  <a:pt x="954" y="1160"/>
                </a:cubicBezTo>
                <a:cubicBezTo>
                  <a:pt x="959" y="1146"/>
                  <a:pt x="964" y="1131"/>
                  <a:pt x="970" y="1117"/>
                </a:cubicBezTo>
                <a:cubicBezTo>
                  <a:pt x="984" y="1082"/>
                  <a:pt x="984" y="1082"/>
                  <a:pt x="984" y="1082"/>
                </a:cubicBezTo>
                <a:lnTo>
                  <a:pt x="1463" y="1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 bwMode="gray">
          <a:xfrm>
            <a:off x="8040216" y="5518973"/>
            <a:ext cx="315870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bellerende risiconemers </a:t>
            </a:r>
            <a:r>
              <a:rPr lang="nl-BE" sz="1400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schouwen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veel van het </a:t>
            </a:r>
            <a:r>
              <a:rPr lang="nl-BE" sz="1400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noemde risicogedrag als meer gevaarlijk 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an anderen.</a:t>
            </a:r>
          </a:p>
        </p:txBody>
      </p:sp>
      <p:sp>
        <p:nvSpPr>
          <p:cNvPr id="84" name="Freeform 38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8263697" y="4961906"/>
            <a:ext cx="178831" cy="151646"/>
          </a:xfrm>
          <a:custGeom>
            <a:avLst/>
            <a:gdLst>
              <a:gd name="T0" fmla="*/ 1920 w 2080"/>
              <a:gd name="T1" fmla="*/ 1364 h 1764"/>
              <a:gd name="T2" fmla="*/ 1880 w 2080"/>
              <a:gd name="T3" fmla="*/ 1764 h 1764"/>
              <a:gd name="T4" fmla="*/ 1600 w 2080"/>
              <a:gd name="T5" fmla="*/ 1724 h 1764"/>
              <a:gd name="T6" fmla="*/ 1440 w 2080"/>
              <a:gd name="T7" fmla="*/ 1364 h 1764"/>
              <a:gd name="T8" fmla="*/ 1400 w 2080"/>
              <a:gd name="T9" fmla="*/ 1764 h 1764"/>
              <a:gd name="T10" fmla="*/ 1120 w 2080"/>
              <a:gd name="T11" fmla="*/ 1724 h 1764"/>
              <a:gd name="T12" fmla="*/ 960 w 2080"/>
              <a:gd name="T13" fmla="*/ 1364 h 1764"/>
              <a:gd name="T14" fmla="*/ 920 w 2080"/>
              <a:gd name="T15" fmla="*/ 1764 h 1764"/>
              <a:gd name="T16" fmla="*/ 640 w 2080"/>
              <a:gd name="T17" fmla="*/ 1724 h 1764"/>
              <a:gd name="T18" fmla="*/ 480 w 2080"/>
              <a:gd name="T19" fmla="*/ 1364 h 1764"/>
              <a:gd name="T20" fmla="*/ 440 w 2080"/>
              <a:gd name="T21" fmla="*/ 1764 h 1764"/>
              <a:gd name="T22" fmla="*/ 160 w 2080"/>
              <a:gd name="T23" fmla="*/ 1724 h 1764"/>
              <a:gd name="T24" fmla="*/ 0 w 2080"/>
              <a:gd name="T25" fmla="*/ 1364 h 1764"/>
              <a:gd name="T26" fmla="*/ 120 w 2080"/>
              <a:gd name="T27" fmla="*/ 1124 h 1764"/>
              <a:gd name="T28" fmla="*/ 160 w 2080"/>
              <a:gd name="T29" fmla="*/ 724 h 1764"/>
              <a:gd name="T30" fmla="*/ 0 w 2080"/>
              <a:gd name="T31" fmla="*/ 484 h 1764"/>
              <a:gd name="T32" fmla="*/ 160 w 2080"/>
              <a:gd name="T33" fmla="*/ 164 h 1764"/>
              <a:gd name="T34" fmla="*/ 292 w 2080"/>
              <a:gd name="T35" fmla="*/ 16 h 1764"/>
              <a:gd name="T36" fmla="*/ 468 w 2080"/>
              <a:gd name="T37" fmla="*/ 136 h 1764"/>
              <a:gd name="T38" fmla="*/ 480 w 2080"/>
              <a:gd name="T39" fmla="*/ 484 h 1764"/>
              <a:gd name="T40" fmla="*/ 640 w 2080"/>
              <a:gd name="T41" fmla="*/ 164 h 1764"/>
              <a:gd name="T42" fmla="*/ 772 w 2080"/>
              <a:gd name="T43" fmla="*/ 16 h 1764"/>
              <a:gd name="T44" fmla="*/ 948 w 2080"/>
              <a:gd name="T45" fmla="*/ 136 h 1764"/>
              <a:gd name="T46" fmla="*/ 960 w 2080"/>
              <a:gd name="T47" fmla="*/ 484 h 1764"/>
              <a:gd name="T48" fmla="*/ 1120 w 2080"/>
              <a:gd name="T49" fmla="*/ 164 h 1764"/>
              <a:gd name="T50" fmla="*/ 1252 w 2080"/>
              <a:gd name="T51" fmla="*/ 16 h 1764"/>
              <a:gd name="T52" fmla="*/ 1428 w 2080"/>
              <a:gd name="T53" fmla="*/ 136 h 1764"/>
              <a:gd name="T54" fmla="*/ 1440 w 2080"/>
              <a:gd name="T55" fmla="*/ 484 h 1764"/>
              <a:gd name="T56" fmla="*/ 1600 w 2080"/>
              <a:gd name="T57" fmla="*/ 164 h 1764"/>
              <a:gd name="T58" fmla="*/ 1732 w 2080"/>
              <a:gd name="T59" fmla="*/ 16 h 1764"/>
              <a:gd name="T60" fmla="*/ 1908 w 2080"/>
              <a:gd name="T61" fmla="*/ 136 h 1764"/>
              <a:gd name="T62" fmla="*/ 1920 w 2080"/>
              <a:gd name="T63" fmla="*/ 484 h 1764"/>
              <a:gd name="T64" fmla="*/ 2080 w 2080"/>
              <a:gd name="T65" fmla="*/ 724 h 1764"/>
              <a:gd name="T66" fmla="*/ 1920 w 2080"/>
              <a:gd name="T67" fmla="*/ 1124 h 1764"/>
              <a:gd name="T68" fmla="*/ 2080 w 2080"/>
              <a:gd name="T69" fmla="*/ 1364 h 1764"/>
              <a:gd name="T70" fmla="*/ 640 w 2080"/>
              <a:gd name="T71" fmla="*/ 1124 h 1764"/>
              <a:gd name="T72" fmla="*/ 480 w 2080"/>
              <a:gd name="T73" fmla="*/ 724 h 1764"/>
              <a:gd name="T74" fmla="*/ 960 w 2080"/>
              <a:gd name="T75" fmla="*/ 1124 h 1764"/>
              <a:gd name="T76" fmla="*/ 1120 w 2080"/>
              <a:gd name="T77" fmla="*/ 724 h 1764"/>
              <a:gd name="T78" fmla="*/ 960 w 2080"/>
              <a:gd name="T79" fmla="*/ 1124 h 1764"/>
              <a:gd name="T80" fmla="*/ 1600 w 2080"/>
              <a:gd name="T81" fmla="*/ 1124 h 1764"/>
              <a:gd name="T82" fmla="*/ 1440 w 2080"/>
              <a:gd name="T83" fmla="*/ 724 h 1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080" h="1764">
                <a:moveTo>
                  <a:pt x="2080" y="1364"/>
                </a:moveTo>
                <a:cubicBezTo>
                  <a:pt x="2027" y="1364"/>
                  <a:pt x="1973" y="1364"/>
                  <a:pt x="1920" y="1364"/>
                </a:cubicBezTo>
                <a:cubicBezTo>
                  <a:pt x="1920" y="1724"/>
                  <a:pt x="1920" y="1724"/>
                  <a:pt x="1920" y="1724"/>
                </a:cubicBezTo>
                <a:cubicBezTo>
                  <a:pt x="1920" y="1746"/>
                  <a:pt x="1902" y="1764"/>
                  <a:pt x="1880" y="1764"/>
                </a:cubicBezTo>
                <a:cubicBezTo>
                  <a:pt x="1640" y="1764"/>
                  <a:pt x="1640" y="1764"/>
                  <a:pt x="1640" y="1764"/>
                </a:cubicBezTo>
                <a:cubicBezTo>
                  <a:pt x="1618" y="1764"/>
                  <a:pt x="1600" y="1746"/>
                  <a:pt x="1600" y="1724"/>
                </a:cubicBezTo>
                <a:cubicBezTo>
                  <a:pt x="1600" y="1364"/>
                  <a:pt x="1600" y="1364"/>
                  <a:pt x="1600" y="1364"/>
                </a:cubicBezTo>
                <a:cubicBezTo>
                  <a:pt x="1440" y="1364"/>
                  <a:pt x="1440" y="1364"/>
                  <a:pt x="1440" y="1364"/>
                </a:cubicBezTo>
                <a:cubicBezTo>
                  <a:pt x="1440" y="1724"/>
                  <a:pt x="1440" y="1724"/>
                  <a:pt x="1440" y="1724"/>
                </a:cubicBezTo>
                <a:cubicBezTo>
                  <a:pt x="1440" y="1746"/>
                  <a:pt x="1422" y="1764"/>
                  <a:pt x="1400" y="1764"/>
                </a:cubicBezTo>
                <a:cubicBezTo>
                  <a:pt x="1160" y="1764"/>
                  <a:pt x="1160" y="1764"/>
                  <a:pt x="1160" y="1764"/>
                </a:cubicBezTo>
                <a:cubicBezTo>
                  <a:pt x="1138" y="1764"/>
                  <a:pt x="1120" y="1746"/>
                  <a:pt x="1120" y="1724"/>
                </a:cubicBezTo>
                <a:cubicBezTo>
                  <a:pt x="1120" y="1364"/>
                  <a:pt x="1120" y="1364"/>
                  <a:pt x="1120" y="1364"/>
                </a:cubicBezTo>
                <a:cubicBezTo>
                  <a:pt x="960" y="1364"/>
                  <a:pt x="960" y="1364"/>
                  <a:pt x="960" y="1364"/>
                </a:cubicBezTo>
                <a:cubicBezTo>
                  <a:pt x="960" y="1724"/>
                  <a:pt x="960" y="1724"/>
                  <a:pt x="960" y="1724"/>
                </a:cubicBezTo>
                <a:cubicBezTo>
                  <a:pt x="960" y="1746"/>
                  <a:pt x="942" y="1764"/>
                  <a:pt x="920" y="1764"/>
                </a:cubicBezTo>
                <a:cubicBezTo>
                  <a:pt x="680" y="1764"/>
                  <a:pt x="680" y="1764"/>
                  <a:pt x="680" y="1764"/>
                </a:cubicBezTo>
                <a:cubicBezTo>
                  <a:pt x="658" y="1764"/>
                  <a:pt x="640" y="1746"/>
                  <a:pt x="640" y="1724"/>
                </a:cubicBezTo>
                <a:cubicBezTo>
                  <a:pt x="640" y="1364"/>
                  <a:pt x="640" y="1364"/>
                  <a:pt x="640" y="1364"/>
                </a:cubicBezTo>
                <a:cubicBezTo>
                  <a:pt x="480" y="1364"/>
                  <a:pt x="480" y="1364"/>
                  <a:pt x="480" y="1364"/>
                </a:cubicBezTo>
                <a:cubicBezTo>
                  <a:pt x="480" y="1724"/>
                  <a:pt x="480" y="1724"/>
                  <a:pt x="480" y="1724"/>
                </a:cubicBezTo>
                <a:cubicBezTo>
                  <a:pt x="480" y="1746"/>
                  <a:pt x="462" y="1764"/>
                  <a:pt x="440" y="1764"/>
                </a:cubicBezTo>
                <a:cubicBezTo>
                  <a:pt x="200" y="1764"/>
                  <a:pt x="200" y="1764"/>
                  <a:pt x="200" y="1764"/>
                </a:cubicBezTo>
                <a:cubicBezTo>
                  <a:pt x="178" y="1764"/>
                  <a:pt x="160" y="1746"/>
                  <a:pt x="160" y="1724"/>
                </a:cubicBezTo>
                <a:cubicBezTo>
                  <a:pt x="160" y="1364"/>
                  <a:pt x="160" y="1364"/>
                  <a:pt x="160" y="1364"/>
                </a:cubicBezTo>
                <a:cubicBezTo>
                  <a:pt x="107" y="1364"/>
                  <a:pt x="53" y="1364"/>
                  <a:pt x="0" y="1364"/>
                </a:cubicBezTo>
                <a:cubicBezTo>
                  <a:pt x="0" y="1284"/>
                  <a:pt x="0" y="1204"/>
                  <a:pt x="0" y="1124"/>
                </a:cubicBezTo>
                <a:cubicBezTo>
                  <a:pt x="120" y="1124"/>
                  <a:pt x="120" y="1124"/>
                  <a:pt x="120" y="1124"/>
                </a:cubicBezTo>
                <a:cubicBezTo>
                  <a:pt x="160" y="1124"/>
                  <a:pt x="160" y="1124"/>
                  <a:pt x="160" y="1124"/>
                </a:cubicBezTo>
                <a:cubicBezTo>
                  <a:pt x="160" y="724"/>
                  <a:pt x="160" y="724"/>
                  <a:pt x="160" y="724"/>
                </a:cubicBezTo>
                <a:cubicBezTo>
                  <a:pt x="107" y="724"/>
                  <a:pt x="53" y="724"/>
                  <a:pt x="0" y="724"/>
                </a:cubicBezTo>
                <a:cubicBezTo>
                  <a:pt x="0" y="644"/>
                  <a:pt x="0" y="564"/>
                  <a:pt x="0" y="484"/>
                </a:cubicBezTo>
                <a:cubicBezTo>
                  <a:pt x="160" y="484"/>
                  <a:pt x="160" y="484"/>
                  <a:pt x="160" y="484"/>
                </a:cubicBezTo>
                <a:cubicBezTo>
                  <a:pt x="160" y="164"/>
                  <a:pt x="160" y="164"/>
                  <a:pt x="160" y="164"/>
                </a:cubicBezTo>
                <a:cubicBezTo>
                  <a:pt x="160" y="153"/>
                  <a:pt x="165" y="142"/>
                  <a:pt x="172" y="135"/>
                </a:cubicBezTo>
                <a:cubicBezTo>
                  <a:pt x="292" y="16"/>
                  <a:pt x="292" y="16"/>
                  <a:pt x="292" y="16"/>
                </a:cubicBezTo>
                <a:cubicBezTo>
                  <a:pt x="307" y="0"/>
                  <a:pt x="333" y="0"/>
                  <a:pt x="348" y="16"/>
                </a:cubicBezTo>
                <a:cubicBezTo>
                  <a:pt x="468" y="136"/>
                  <a:pt x="468" y="136"/>
                  <a:pt x="468" y="136"/>
                </a:cubicBezTo>
                <a:cubicBezTo>
                  <a:pt x="476" y="144"/>
                  <a:pt x="480" y="154"/>
                  <a:pt x="480" y="164"/>
                </a:cubicBezTo>
                <a:cubicBezTo>
                  <a:pt x="480" y="484"/>
                  <a:pt x="480" y="484"/>
                  <a:pt x="480" y="484"/>
                </a:cubicBezTo>
                <a:cubicBezTo>
                  <a:pt x="533" y="484"/>
                  <a:pt x="587" y="484"/>
                  <a:pt x="640" y="484"/>
                </a:cubicBezTo>
                <a:cubicBezTo>
                  <a:pt x="640" y="164"/>
                  <a:pt x="640" y="164"/>
                  <a:pt x="640" y="164"/>
                </a:cubicBezTo>
                <a:cubicBezTo>
                  <a:pt x="640" y="153"/>
                  <a:pt x="645" y="142"/>
                  <a:pt x="652" y="135"/>
                </a:cubicBezTo>
                <a:cubicBezTo>
                  <a:pt x="772" y="16"/>
                  <a:pt x="772" y="16"/>
                  <a:pt x="772" y="16"/>
                </a:cubicBezTo>
                <a:cubicBezTo>
                  <a:pt x="787" y="0"/>
                  <a:pt x="813" y="0"/>
                  <a:pt x="828" y="16"/>
                </a:cubicBezTo>
                <a:cubicBezTo>
                  <a:pt x="948" y="136"/>
                  <a:pt x="948" y="136"/>
                  <a:pt x="948" y="136"/>
                </a:cubicBezTo>
                <a:cubicBezTo>
                  <a:pt x="956" y="144"/>
                  <a:pt x="960" y="154"/>
                  <a:pt x="960" y="164"/>
                </a:cubicBezTo>
                <a:cubicBezTo>
                  <a:pt x="960" y="484"/>
                  <a:pt x="960" y="484"/>
                  <a:pt x="960" y="484"/>
                </a:cubicBezTo>
                <a:cubicBezTo>
                  <a:pt x="1013" y="484"/>
                  <a:pt x="1067" y="484"/>
                  <a:pt x="1120" y="484"/>
                </a:cubicBezTo>
                <a:cubicBezTo>
                  <a:pt x="1120" y="164"/>
                  <a:pt x="1120" y="164"/>
                  <a:pt x="1120" y="164"/>
                </a:cubicBezTo>
                <a:cubicBezTo>
                  <a:pt x="1120" y="153"/>
                  <a:pt x="1125" y="142"/>
                  <a:pt x="1132" y="135"/>
                </a:cubicBezTo>
                <a:cubicBezTo>
                  <a:pt x="1252" y="16"/>
                  <a:pt x="1252" y="16"/>
                  <a:pt x="1252" y="16"/>
                </a:cubicBezTo>
                <a:cubicBezTo>
                  <a:pt x="1267" y="0"/>
                  <a:pt x="1293" y="0"/>
                  <a:pt x="1308" y="16"/>
                </a:cubicBezTo>
                <a:cubicBezTo>
                  <a:pt x="1428" y="136"/>
                  <a:pt x="1428" y="136"/>
                  <a:pt x="1428" y="136"/>
                </a:cubicBezTo>
                <a:cubicBezTo>
                  <a:pt x="1436" y="144"/>
                  <a:pt x="1440" y="154"/>
                  <a:pt x="1440" y="164"/>
                </a:cubicBezTo>
                <a:cubicBezTo>
                  <a:pt x="1440" y="484"/>
                  <a:pt x="1440" y="484"/>
                  <a:pt x="1440" y="484"/>
                </a:cubicBezTo>
                <a:cubicBezTo>
                  <a:pt x="1493" y="484"/>
                  <a:pt x="1547" y="484"/>
                  <a:pt x="1600" y="484"/>
                </a:cubicBezTo>
                <a:cubicBezTo>
                  <a:pt x="1600" y="164"/>
                  <a:pt x="1600" y="164"/>
                  <a:pt x="1600" y="164"/>
                </a:cubicBezTo>
                <a:cubicBezTo>
                  <a:pt x="1600" y="153"/>
                  <a:pt x="1605" y="142"/>
                  <a:pt x="1612" y="135"/>
                </a:cubicBezTo>
                <a:cubicBezTo>
                  <a:pt x="1732" y="16"/>
                  <a:pt x="1732" y="16"/>
                  <a:pt x="1732" y="16"/>
                </a:cubicBezTo>
                <a:cubicBezTo>
                  <a:pt x="1747" y="0"/>
                  <a:pt x="1773" y="0"/>
                  <a:pt x="1788" y="16"/>
                </a:cubicBezTo>
                <a:cubicBezTo>
                  <a:pt x="1908" y="136"/>
                  <a:pt x="1908" y="136"/>
                  <a:pt x="1908" y="136"/>
                </a:cubicBezTo>
                <a:cubicBezTo>
                  <a:pt x="1916" y="144"/>
                  <a:pt x="1920" y="154"/>
                  <a:pt x="1920" y="164"/>
                </a:cubicBezTo>
                <a:cubicBezTo>
                  <a:pt x="1920" y="484"/>
                  <a:pt x="1920" y="484"/>
                  <a:pt x="1920" y="484"/>
                </a:cubicBezTo>
                <a:cubicBezTo>
                  <a:pt x="1973" y="484"/>
                  <a:pt x="2027" y="484"/>
                  <a:pt x="2080" y="484"/>
                </a:cubicBezTo>
                <a:cubicBezTo>
                  <a:pt x="2080" y="564"/>
                  <a:pt x="2080" y="644"/>
                  <a:pt x="2080" y="724"/>
                </a:cubicBezTo>
                <a:cubicBezTo>
                  <a:pt x="2027" y="724"/>
                  <a:pt x="1973" y="724"/>
                  <a:pt x="1920" y="724"/>
                </a:cubicBezTo>
                <a:cubicBezTo>
                  <a:pt x="1920" y="1124"/>
                  <a:pt x="1920" y="1124"/>
                  <a:pt x="1920" y="1124"/>
                </a:cubicBezTo>
                <a:cubicBezTo>
                  <a:pt x="1973" y="1124"/>
                  <a:pt x="2027" y="1124"/>
                  <a:pt x="2080" y="1124"/>
                </a:cubicBezTo>
                <a:cubicBezTo>
                  <a:pt x="2080" y="1204"/>
                  <a:pt x="2080" y="1284"/>
                  <a:pt x="2080" y="1364"/>
                </a:cubicBezTo>
                <a:close/>
                <a:moveTo>
                  <a:pt x="480" y="1124"/>
                </a:moveTo>
                <a:cubicBezTo>
                  <a:pt x="533" y="1124"/>
                  <a:pt x="587" y="1124"/>
                  <a:pt x="640" y="1124"/>
                </a:cubicBezTo>
                <a:cubicBezTo>
                  <a:pt x="640" y="724"/>
                  <a:pt x="640" y="724"/>
                  <a:pt x="640" y="724"/>
                </a:cubicBezTo>
                <a:cubicBezTo>
                  <a:pt x="587" y="724"/>
                  <a:pt x="533" y="724"/>
                  <a:pt x="480" y="724"/>
                </a:cubicBezTo>
                <a:lnTo>
                  <a:pt x="480" y="1124"/>
                </a:lnTo>
                <a:close/>
                <a:moveTo>
                  <a:pt x="960" y="1124"/>
                </a:moveTo>
                <a:cubicBezTo>
                  <a:pt x="1013" y="1124"/>
                  <a:pt x="1067" y="1124"/>
                  <a:pt x="1120" y="1124"/>
                </a:cubicBezTo>
                <a:cubicBezTo>
                  <a:pt x="1120" y="724"/>
                  <a:pt x="1120" y="724"/>
                  <a:pt x="1120" y="724"/>
                </a:cubicBezTo>
                <a:cubicBezTo>
                  <a:pt x="1067" y="724"/>
                  <a:pt x="1013" y="724"/>
                  <a:pt x="960" y="724"/>
                </a:cubicBezTo>
                <a:lnTo>
                  <a:pt x="960" y="1124"/>
                </a:lnTo>
                <a:close/>
                <a:moveTo>
                  <a:pt x="1440" y="1124"/>
                </a:moveTo>
                <a:cubicBezTo>
                  <a:pt x="1493" y="1124"/>
                  <a:pt x="1547" y="1124"/>
                  <a:pt x="1600" y="1124"/>
                </a:cubicBezTo>
                <a:cubicBezTo>
                  <a:pt x="1600" y="724"/>
                  <a:pt x="1600" y="724"/>
                  <a:pt x="1600" y="724"/>
                </a:cubicBezTo>
                <a:cubicBezTo>
                  <a:pt x="1547" y="724"/>
                  <a:pt x="1493" y="724"/>
                  <a:pt x="1440" y="724"/>
                </a:cubicBezTo>
                <a:lnTo>
                  <a:pt x="1440" y="112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8179889" y="4536060"/>
            <a:ext cx="319983" cy="274837"/>
            <a:chOff x="4908731" y="7441992"/>
            <a:chExt cx="562407" cy="401790"/>
          </a:xfrm>
        </p:grpSpPr>
        <p:pic>
          <p:nvPicPr>
            <p:cNvPr id="86" name="Picture 85"/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167"/>
            <a:stretch/>
          </p:blipFill>
          <p:spPr>
            <a:xfrm rot="1290358">
              <a:off x="5095367" y="7441992"/>
              <a:ext cx="283667" cy="401790"/>
            </a:xfrm>
            <a:prstGeom prst="rect">
              <a:avLst/>
            </a:prstGeom>
          </p:spPr>
        </p:pic>
        <p:sp>
          <p:nvSpPr>
            <p:cNvPr id="87" name="Freeform 86"/>
            <p:cNvSpPr>
              <a:spLocks noEditPoints="1"/>
            </p:cNvSpPr>
            <p:nvPr/>
          </p:nvSpPr>
          <p:spPr bwMode="gray">
            <a:xfrm rot="11664682" flipV="1">
              <a:off x="4908731" y="7476285"/>
              <a:ext cx="562407" cy="288739"/>
            </a:xfrm>
            <a:custGeom>
              <a:avLst/>
              <a:gdLst>
                <a:gd name="T0" fmla="*/ 508 w 642"/>
                <a:gd name="T1" fmla="*/ 94 h 189"/>
                <a:gd name="T2" fmla="*/ 243 w 642"/>
                <a:gd name="T3" fmla="*/ 72 h 189"/>
                <a:gd name="T4" fmla="*/ 21 w 642"/>
                <a:gd name="T5" fmla="*/ 183 h 189"/>
                <a:gd name="T6" fmla="*/ 4 w 642"/>
                <a:gd name="T7" fmla="*/ 182 h 189"/>
                <a:gd name="T8" fmla="*/ 10 w 642"/>
                <a:gd name="T9" fmla="*/ 164 h 189"/>
                <a:gd name="T10" fmla="*/ 239 w 642"/>
                <a:gd name="T11" fmla="*/ 47 h 189"/>
                <a:gd name="T12" fmla="*/ 522 w 642"/>
                <a:gd name="T13" fmla="*/ 68 h 189"/>
                <a:gd name="T14" fmla="*/ 508 w 642"/>
                <a:gd name="T15" fmla="*/ 94 h 189"/>
                <a:gd name="T16" fmla="*/ 630 w 642"/>
                <a:gd name="T17" fmla="*/ 93 h 189"/>
                <a:gd name="T18" fmla="*/ 515 w 642"/>
                <a:gd name="T19" fmla="*/ 7 h 189"/>
                <a:gd name="T20" fmla="*/ 496 w 642"/>
                <a:gd name="T21" fmla="*/ 30 h 189"/>
                <a:gd name="T22" fmla="*/ 572 w 642"/>
                <a:gd name="T23" fmla="*/ 87 h 189"/>
                <a:gd name="T24" fmla="*/ 541 w 642"/>
                <a:gd name="T25" fmla="*/ 98 h 189"/>
                <a:gd name="T26" fmla="*/ 459 w 642"/>
                <a:gd name="T27" fmla="*/ 162 h 189"/>
                <a:gd name="T28" fmla="*/ 462 w 642"/>
                <a:gd name="T29" fmla="*/ 179 h 189"/>
                <a:gd name="T30" fmla="*/ 479 w 642"/>
                <a:gd name="T31" fmla="*/ 169 h 189"/>
                <a:gd name="T32" fmla="*/ 536 w 642"/>
                <a:gd name="T33" fmla="*/ 125 h 189"/>
                <a:gd name="T34" fmla="*/ 611 w 642"/>
                <a:gd name="T35" fmla="*/ 116 h 189"/>
                <a:gd name="T36" fmla="*/ 630 w 642"/>
                <a:gd name="T37" fmla="*/ 9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2" h="189">
                  <a:moveTo>
                    <a:pt x="508" y="94"/>
                  </a:moveTo>
                  <a:cubicBezTo>
                    <a:pt x="422" y="74"/>
                    <a:pt x="331" y="62"/>
                    <a:pt x="243" y="72"/>
                  </a:cubicBezTo>
                  <a:cubicBezTo>
                    <a:pt x="160" y="82"/>
                    <a:pt x="79" y="125"/>
                    <a:pt x="21" y="183"/>
                  </a:cubicBezTo>
                  <a:cubicBezTo>
                    <a:pt x="16" y="187"/>
                    <a:pt x="7" y="189"/>
                    <a:pt x="4" y="182"/>
                  </a:cubicBezTo>
                  <a:cubicBezTo>
                    <a:pt x="0" y="176"/>
                    <a:pt x="5" y="168"/>
                    <a:pt x="10" y="164"/>
                  </a:cubicBezTo>
                  <a:cubicBezTo>
                    <a:pt x="70" y="104"/>
                    <a:pt x="155" y="58"/>
                    <a:pt x="239" y="47"/>
                  </a:cubicBezTo>
                  <a:cubicBezTo>
                    <a:pt x="333" y="34"/>
                    <a:pt x="430" y="47"/>
                    <a:pt x="522" y="68"/>
                  </a:cubicBezTo>
                  <a:cubicBezTo>
                    <a:pt x="537" y="71"/>
                    <a:pt x="521" y="97"/>
                    <a:pt x="508" y="94"/>
                  </a:cubicBezTo>
                  <a:close/>
                  <a:moveTo>
                    <a:pt x="630" y="93"/>
                  </a:moveTo>
                  <a:cubicBezTo>
                    <a:pt x="590" y="67"/>
                    <a:pt x="555" y="33"/>
                    <a:pt x="515" y="7"/>
                  </a:cubicBezTo>
                  <a:cubicBezTo>
                    <a:pt x="503" y="0"/>
                    <a:pt x="484" y="23"/>
                    <a:pt x="496" y="30"/>
                  </a:cubicBezTo>
                  <a:cubicBezTo>
                    <a:pt x="523" y="47"/>
                    <a:pt x="547" y="68"/>
                    <a:pt x="572" y="87"/>
                  </a:cubicBezTo>
                  <a:cubicBezTo>
                    <a:pt x="561" y="90"/>
                    <a:pt x="551" y="94"/>
                    <a:pt x="541" y="98"/>
                  </a:cubicBezTo>
                  <a:cubicBezTo>
                    <a:pt x="509" y="111"/>
                    <a:pt x="478" y="133"/>
                    <a:pt x="459" y="162"/>
                  </a:cubicBezTo>
                  <a:cubicBezTo>
                    <a:pt x="455" y="167"/>
                    <a:pt x="455" y="176"/>
                    <a:pt x="462" y="179"/>
                  </a:cubicBezTo>
                  <a:cubicBezTo>
                    <a:pt x="469" y="181"/>
                    <a:pt x="475" y="175"/>
                    <a:pt x="479" y="169"/>
                  </a:cubicBezTo>
                  <a:cubicBezTo>
                    <a:pt x="493" y="150"/>
                    <a:pt x="515" y="136"/>
                    <a:pt x="536" y="125"/>
                  </a:cubicBezTo>
                  <a:cubicBezTo>
                    <a:pt x="557" y="115"/>
                    <a:pt x="588" y="103"/>
                    <a:pt x="611" y="116"/>
                  </a:cubicBezTo>
                  <a:cubicBezTo>
                    <a:pt x="623" y="122"/>
                    <a:pt x="642" y="100"/>
                    <a:pt x="630" y="93"/>
                  </a:cubicBez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bg1"/>
              </a:solidFill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8220111" y="4167401"/>
            <a:ext cx="376567" cy="252850"/>
            <a:chOff x="5063326" y="4327256"/>
            <a:chExt cx="551332" cy="305949"/>
          </a:xfrm>
        </p:grpSpPr>
        <p:sp>
          <p:nvSpPr>
            <p:cNvPr id="89" name="Freeform 43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5063326" y="4327256"/>
              <a:ext cx="235372" cy="217606"/>
            </a:xfrm>
            <a:custGeom>
              <a:avLst/>
              <a:gdLst>
                <a:gd name="T0" fmla="*/ 55 w 5008"/>
                <a:gd name="T1" fmla="*/ 3307 h 4630"/>
                <a:gd name="T2" fmla="*/ 3362 w 5008"/>
                <a:gd name="T3" fmla="*/ 0 h 4630"/>
                <a:gd name="T4" fmla="*/ 4873 w 5008"/>
                <a:gd name="T5" fmla="*/ 0 h 4630"/>
                <a:gd name="T6" fmla="*/ 1566 w 5008"/>
                <a:gd name="T7" fmla="*/ 3307 h 4630"/>
                <a:gd name="T8" fmla="*/ 55 w 5008"/>
                <a:gd name="T9" fmla="*/ 3307 h 4630"/>
                <a:gd name="T10" fmla="*/ 5008 w 5008"/>
                <a:gd name="T11" fmla="*/ 135 h 4630"/>
                <a:gd name="T12" fmla="*/ 5008 w 5008"/>
                <a:gd name="T13" fmla="*/ 1269 h 4630"/>
                <a:gd name="T14" fmla="*/ 1701 w 5008"/>
                <a:gd name="T15" fmla="*/ 4576 h 4630"/>
                <a:gd name="T16" fmla="*/ 1701 w 5008"/>
                <a:gd name="T17" fmla="*/ 3442 h 4630"/>
                <a:gd name="T18" fmla="*/ 5008 w 5008"/>
                <a:gd name="T19" fmla="*/ 135 h 4630"/>
                <a:gd name="T20" fmla="*/ 1512 w 5008"/>
                <a:gd name="T21" fmla="*/ 4630 h 4630"/>
                <a:gd name="T22" fmla="*/ 0 w 5008"/>
                <a:gd name="T23" fmla="*/ 4630 h 4630"/>
                <a:gd name="T24" fmla="*/ 0 w 5008"/>
                <a:gd name="T25" fmla="*/ 3496 h 4630"/>
                <a:gd name="T26" fmla="*/ 1512 w 5008"/>
                <a:gd name="T27" fmla="*/ 3496 h 4630"/>
                <a:gd name="T28" fmla="*/ 1512 w 5008"/>
                <a:gd name="T29" fmla="*/ 4630 h 4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08" h="4630">
                  <a:moveTo>
                    <a:pt x="55" y="3307"/>
                  </a:moveTo>
                  <a:lnTo>
                    <a:pt x="3362" y="0"/>
                  </a:lnTo>
                  <a:lnTo>
                    <a:pt x="4873" y="0"/>
                  </a:lnTo>
                  <a:lnTo>
                    <a:pt x="1566" y="3307"/>
                  </a:lnTo>
                  <a:lnTo>
                    <a:pt x="55" y="3307"/>
                  </a:lnTo>
                  <a:close/>
                  <a:moveTo>
                    <a:pt x="5008" y="135"/>
                  </a:moveTo>
                  <a:lnTo>
                    <a:pt x="5008" y="1269"/>
                  </a:lnTo>
                  <a:lnTo>
                    <a:pt x="1701" y="4576"/>
                  </a:lnTo>
                  <a:lnTo>
                    <a:pt x="1701" y="3442"/>
                  </a:lnTo>
                  <a:lnTo>
                    <a:pt x="5008" y="135"/>
                  </a:lnTo>
                  <a:close/>
                  <a:moveTo>
                    <a:pt x="1512" y="4630"/>
                  </a:moveTo>
                  <a:lnTo>
                    <a:pt x="0" y="4630"/>
                  </a:lnTo>
                  <a:lnTo>
                    <a:pt x="0" y="3496"/>
                  </a:lnTo>
                  <a:lnTo>
                    <a:pt x="1512" y="3496"/>
                  </a:lnTo>
                  <a:lnTo>
                    <a:pt x="1512" y="463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43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5379286" y="4415599"/>
              <a:ext cx="235372" cy="217606"/>
            </a:xfrm>
            <a:custGeom>
              <a:avLst/>
              <a:gdLst>
                <a:gd name="T0" fmla="*/ 55 w 5008"/>
                <a:gd name="T1" fmla="*/ 3307 h 4630"/>
                <a:gd name="T2" fmla="*/ 3362 w 5008"/>
                <a:gd name="T3" fmla="*/ 0 h 4630"/>
                <a:gd name="T4" fmla="*/ 4873 w 5008"/>
                <a:gd name="T5" fmla="*/ 0 h 4630"/>
                <a:gd name="T6" fmla="*/ 1566 w 5008"/>
                <a:gd name="T7" fmla="*/ 3307 h 4630"/>
                <a:gd name="T8" fmla="*/ 55 w 5008"/>
                <a:gd name="T9" fmla="*/ 3307 h 4630"/>
                <a:gd name="T10" fmla="*/ 5008 w 5008"/>
                <a:gd name="T11" fmla="*/ 135 h 4630"/>
                <a:gd name="T12" fmla="*/ 5008 w 5008"/>
                <a:gd name="T13" fmla="*/ 1269 h 4630"/>
                <a:gd name="T14" fmla="*/ 1701 w 5008"/>
                <a:gd name="T15" fmla="*/ 4576 h 4630"/>
                <a:gd name="T16" fmla="*/ 1701 w 5008"/>
                <a:gd name="T17" fmla="*/ 3442 h 4630"/>
                <a:gd name="T18" fmla="*/ 5008 w 5008"/>
                <a:gd name="T19" fmla="*/ 135 h 4630"/>
                <a:gd name="T20" fmla="*/ 1512 w 5008"/>
                <a:gd name="T21" fmla="*/ 4630 h 4630"/>
                <a:gd name="T22" fmla="*/ 0 w 5008"/>
                <a:gd name="T23" fmla="*/ 4630 h 4630"/>
                <a:gd name="T24" fmla="*/ 0 w 5008"/>
                <a:gd name="T25" fmla="*/ 3496 h 4630"/>
                <a:gd name="T26" fmla="*/ 1512 w 5008"/>
                <a:gd name="T27" fmla="*/ 3496 h 4630"/>
                <a:gd name="T28" fmla="*/ 1512 w 5008"/>
                <a:gd name="T29" fmla="*/ 4630 h 4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08" h="4630">
                  <a:moveTo>
                    <a:pt x="55" y="3307"/>
                  </a:moveTo>
                  <a:lnTo>
                    <a:pt x="3362" y="0"/>
                  </a:lnTo>
                  <a:lnTo>
                    <a:pt x="4873" y="0"/>
                  </a:lnTo>
                  <a:lnTo>
                    <a:pt x="1566" y="3307"/>
                  </a:lnTo>
                  <a:lnTo>
                    <a:pt x="55" y="3307"/>
                  </a:lnTo>
                  <a:close/>
                  <a:moveTo>
                    <a:pt x="5008" y="135"/>
                  </a:moveTo>
                  <a:lnTo>
                    <a:pt x="5008" y="1269"/>
                  </a:lnTo>
                  <a:lnTo>
                    <a:pt x="1701" y="4576"/>
                  </a:lnTo>
                  <a:lnTo>
                    <a:pt x="1701" y="3442"/>
                  </a:lnTo>
                  <a:lnTo>
                    <a:pt x="5008" y="135"/>
                  </a:lnTo>
                  <a:close/>
                  <a:moveTo>
                    <a:pt x="1512" y="4630"/>
                  </a:moveTo>
                  <a:lnTo>
                    <a:pt x="0" y="4630"/>
                  </a:lnTo>
                  <a:lnTo>
                    <a:pt x="0" y="3496"/>
                  </a:lnTo>
                  <a:lnTo>
                    <a:pt x="1512" y="3496"/>
                  </a:lnTo>
                  <a:lnTo>
                    <a:pt x="1512" y="463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Right Arrow 90"/>
            <p:cNvSpPr/>
            <p:nvPr/>
          </p:nvSpPr>
          <p:spPr bwMode="gray">
            <a:xfrm rot="757864">
              <a:off x="5282336" y="4403824"/>
              <a:ext cx="149190" cy="116515"/>
            </a:xfrm>
            <a:prstGeom prst="rightArrow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</p:grpSp>
      <p:sp>
        <p:nvSpPr>
          <p:cNvPr id="92" name="Rectangle 91"/>
          <p:cNvSpPr/>
          <p:nvPr/>
        </p:nvSpPr>
        <p:spPr bwMode="gray">
          <a:xfrm>
            <a:off x="10871336" y="6533769"/>
            <a:ext cx="255182" cy="1914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3" name="Rectangle 92"/>
          <p:cNvSpPr/>
          <p:nvPr/>
        </p:nvSpPr>
        <p:spPr bwMode="gray">
          <a:xfrm>
            <a:off x="10588347" y="6535109"/>
            <a:ext cx="255182" cy="191449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 bwMode="gray">
          <a:xfrm>
            <a:off x="9134705" y="6398219"/>
            <a:ext cx="14536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gnificant verschillend van de totale steekproef</a:t>
            </a:r>
          </a:p>
        </p:txBody>
      </p:sp>
      <p:sp>
        <p:nvSpPr>
          <p:cNvPr id="47" name="Freeform 46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7701616" y="5480134"/>
            <a:ext cx="322305" cy="224413"/>
          </a:xfrm>
          <a:custGeom>
            <a:avLst/>
            <a:gdLst>
              <a:gd name="T0" fmla="*/ 1034 w 2068"/>
              <a:gd name="T1" fmla="*/ 0 h 1440"/>
              <a:gd name="T2" fmla="*/ 2065 w 2068"/>
              <a:gd name="T3" fmla="*/ 706 h 1440"/>
              <a:gd name="T4" fmla="*/ 2065 w 2068"/>
              <a:gd name="T5" fmla="*/ 734 h 1440"/>
              <a:gd name="T6" fmla="*/ 1034 w 2068"/>
              <a:gd name="T7" fmla="*/ 1440 h 1440"/>
              <a:gd name="T8" fmla="*/ 3 w 2068"/>
              <a:gd name="T9" fmla="*/ 734 h 1440"/>
              <a:gd name="T10" fmla="*/ 3 w 2068"/>
              <a:gd name="T11" fmla="*/ 706 h 1440"/>
              <a:gd name="T12" fmla="*/ 1034 w 2068"/>
              <a:gd name="T13" fmla="*/ 0 h 1440"/>
              <a:gd name="T14" fmla="*/ 1034 w 2068"/>
              <a:gd name="T15" fmla="*/ 160 h 1440"/>
              <a:gd name="T16" fmla="*/ 474 w 2068"/>
              <a:gd name="T17" fmla="*/ 720 h 1440"/>
              <a:gd name="T18" fmla="*/ 1034 w 2068"/>
              <a:gd name="T19" fmla="*/ 1280 h 1440"/>
              <a:gd name="T20" fmla="*/ 1594 w 2068"/>
              <a:gd name="T21" fmla="*/ 720 h 1440"/>
              <a:gd name="T22" fmla="*/ 1034 w 2068"/>
              <a:gd name="T23" fmla="*/ 160 h 1440"/>
              <a:gd name="T24" fmla="*/ 1322 w 2068"/>
              <a:gd name="T25" fmla="*/ 336 h 1440"/>
              <a:gd name="T26" fmla="*/ 686 w 2068"/>
              <a:gd name="T27" fmla="*/ 1051 h 1440"/>
              <a:gd name="T28" fmla="*/ 554 w 2068"/>
              <a:gd name="T29" fmla="*/ 720 h 1440"/>
              <a:gd name="T30" fmla="*/ 1034 w 2068"/>
              <a:gd name="T31" fmla="*/ 240 h 1440"/>
              <a:gd name="T32" fmla="*/ 1322 w 2068"/>
              <a:gd name="T33" fmla="*/ 336 h 1440"/>
              <a:gd name="T34" fmla="*/ 1514 w 2068"/>
              <a:gd name="T35" fmla="*/ 720 h 1440"/>
              <a:gd name="T36" fmla="*/ 1382 w 2068"/>
              <a:gd name="T37" fmla="*/ 389 h 1440"/>
              <a:gd name="T38" fmla="*/ 746 w 2068"/>
              <a:gd name="T39" fmla="*/ 1104 h 1440"/>
              <a:gd name="T40" fmla="*/ 1034 w 2068"/>
              <a:gd name="T41" fmla="*/ 1200 h 1440"/>
              <a:gd name="T42" fmla="*/ 1514 w 2068"/>
              <a:gd name="T43" fmla="*/ 7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68" h="1440">
                <a:moveTo>
                  <a:pt x="1034" y="0"/>
                </a:moveTo>
                <a:cubicBezTo>
                  <a:pt x="1464" y="0"/>
                  <a:pt x="1910" y="303"/>
                  <a:pt x="2065" y="706"/>
                </a:cubicBezTo>
                <a:cubicBezTo>
                  <a:pt x="2068" y="715"/>
                  <a:pt x="2068" y="725"/>
                  <a:pt x="2065" y="734"/>
                </a:cubicBezTo>
                <a:cubicBezTo>
                  <a:pt x="1910" y="1137"/>
                  <a:pt x="1465" y="1440"/>
                  <a:pt x="1034" y="1440"/>
                </a:cubicBezTo>
                <a:cubicBezTo>
                  <a:pt x="603" y="1440"/>
                  <a:pt x="158" y="1137"/>
                  <a:pt x="3" y="734"/>
                </a:cubicBezTo>
                <a:cubicBezTo>
                  <a:pt x="0" y="725"/>
                  <a:pt x="0" y="715"/>
                  <a:pt x="3" y="706"/>
                </a:cubicBezTo>
                <a:cubicBezTo>
                  <a:pt x="158" y="303"/>
                  <a:pt x="604" y="0"/>
                  <a:pt x="1034" y="0"/>
                </a:cubicBezTo>
                <a:close/>
                <a:moveTo>
                  <a:pt x="1034" y="160"/>
                </a:moveTo>
                <a:cubicBezTo>
                  <a:pt x="725" y="160"/>
                  <a:pt x="474" y="411"/>
                  <a:pt x="474" y="720"/>
                </a:cubicBezTo>
                <a:cubicBezTo>
                  <a:pt x="474" y="1029"/>
                  <a:pt x="725" y="1280"/>
                  <a:pt x="1034" y="1280"/>
                </a:cubicBezTo>
                <a:cubicBezTo>
                  <a:pt x="1343" y="1280"/>
                  <a:pt x="1594" y="1029"/>
                  <a:pt x="1594" y="720"/>
                </a:cubicBezTo>
                <a:cubicBezTo>
                  <a:pt x="1594" y="411"/>
                  <a:pt x="1343" y="160"/>
                  <a:pt x="1034" y="160"/>
                </a:cubicBezTo>
                <a:close/>
                <a:moveTo>
                  <a:pt x="1322" y="336"/>
                </a:moveTo>
                <a:cubicBezTo>
                  <a:pt x="686" y="1051"/>
                  <a:pt x="686" y="1051"/>
                  <a:pt x="686" y="1051"/>
                </a:cubicBezTo>
                <a:cubicBezTo>
                  <a:pt x="604" y="965"/>
                  <a:pt x="554" y="848"/>
                  <a:pt x="554" y="720"/>
                </a:cubicBezTo>
                <a:cubicBezTo>
                  <a:pt x="554" y="455"/>
                  <a:pt x="769" y="240"/>
                  <a:pt x="1034" y="240"/>
                </a:cubicBezTo>
                <a:cubicBezTo>
                  <a:pt x="1142" y="240"/>
                  <a:pt x="1242" y="276"/>
                  <a:pt x="1322" y="336"/>
                </a:cubicBezTo>
                <a:close/>
                <a:moveTo>
                  <a:pt x="1514" y="720"/>
                </a:moveTo>
                <a:cubicBezTo>
                  <a:pt x="1514" y="592"/>
                  <a:pt x="1464" y="475"/>
                  <a:pt x="1382" y="389"/>
                </a:cubicBezTo>
                <a:cubicBezTo>
                  <a:pt x="746" y="1104"/>
                  <a:pt x="746" y="1104"/>
                  <a:pt x="746" y="1104"/>
                </a:cubicBezTo>
                <a:cubicBezTo>
                  <a:pt x="826" y="1164"/>
                  <a:pt x="926" y="1200"/>
                  <a:pt x="1034" y="1200"/>
                </a:cubicBezTo>
                <a:cubicBezTo>
                  <a:pt x="1299" y="1200"/>
                  <a:pt x="1514" y="985"/>
                  <a:pt x="1514" y="7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hevron 48"/>
          <p:cNvSpPr/>
          <p:nvPr/>
        </p:nvSpPr>
        <p:spPr bwMode="gray">
          <a:xfrm>
            <a:off x="6243130" y="3885990"/>
            <a:ext cx="1232050" cy="459548"/>
          </a:xfrm>
          <a:prstGeom prst="chevron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0" name="Chevron 49"/>
          <p:cNvSpPr/>
          <p:nvPr/>
        </p:nvSpPr>
        <p:spPr bwMode="gray">
          <a:xfrm>
            <a:off x="6290731" y="2361802"/>
            <a:ext cx="1232050" cy="459548"/>
          </a:xfrm>
          <a:prstGeom prst="chevron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1" name="Chevron 50"/>
          <p:cNvSpPr/>
          <p:nvPr/>
        </p:nvSpPr>
        <p:spPr bwMode="gray">
          <a:xfrm>
            <a:off x="6252845" y="5422148"/>
            <a:ext cx="1232050" cy="459548"/>
          </a:xfrm>
          <a:prstGeom prst="chevron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7988247" y="3623653"/>
            <a:ext cx="2788941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lijk gedrag dat in de afgelopen </a:t>
            </a:r>
            <a:b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 het vaakst voorkwam</a:t>
            </a:r>
          </a:p>
        </p:txBody>
      </p:sp>
    </p:spTree>
    <p:extLst>
      <p:ext uri="{BB962C8B-B14F-4D97-AF65-F5344CB8AC3E}">
        <p14:creationId xmlns:p14="http://schemas.microsoft.com/office/powerpoint/2010/main" val="304325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0727" y="154337"/>
            <a:ext cx="2054700" cy="2739600"/>
          </a:xfrm>
          <a:prstGeom prst="rect">
            <a:avLst/>
          </a:prstGeom>
        </p:spPr>
      </p:pic>
      <p:sp>
        <p:nvSpPr>
          <p:cNvPr id="62" name="Rounded Rectangle 61"/>
          <p:cNvSpPr/>
          <p:nvPr/>
        </p:nvSpPr>
        <p:spPr bwMode="gray">
          <a:xfrm>
            <a:off x="6966340" y="1671712"/>
            <a:ext cx="4589217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3" name="Rounded Rectangle 62"/>
          <p:cNvSpPr/>
          <p:nvPr/>
        </p:nvSpPr>
        <p:spPr bwMode="gray">
          <a:xfrm>
            <a:off x="919532" y="1671711"/>
            <a:ext cx="5923396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 bwMode="gray">
          <a:xfrm>
            <a:off x="1280535" y="2396886"/>
            <a:ext cx="49720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udere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mannen en vrouwen die vaak met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ensio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zijn</a:t>
            </a:r>
          </a:p>
        </p:txBody>
      </p:sp>
      <p:sp>
        <p:nvSpPr>
          <p:cNvPr id="48" name="TextBox 47"/>
          <p:cNvSpPr txBox="1"/>
          <p:nvPr/>
        </p:nvSpPr>
        <p:spPr bwMode="gray">
          <a:xfrm>
            <a:off x="535464" y="836712"/>
            <a:ext cx="1216353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A2A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Veilige groep</a:t>
            </a:r>
            <a:br>
              <a:rPr lang="nl-BE" sz="2400" b="1" dirty="0">
                <a:solidFill>
                  <a:srgbClr val="A2A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2400" b="1" dirty="0">
                <a:solidFill>
                  <a:srgbClr val="A2A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Voorbeeld voor de maatschappij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18" name="Parallelogram 17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635"/>
            <a:stretch/>
          </p:blipFill>
          <p:spPr>
            <a:xfrm rot="2367436">
              <a:off x="441856" y="152573"/>
              <a:ext cx="187217" cy="266720"/>
            </a:xfrm>
            <a:prstGeom prst="rect">
              <a:avLst/>
            </a:prstGeom>
          </p:spPr>
        </p:pic>
        <p:sp>
          <p:nvSpPr>
            <p:cNvPr id="21" name="Freeform 11"/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277179" y="400520"/>
              <a:ext cx="149163" cy="173812"/>
            </a:xfrm>
            <a:custGeom>
              <a:avLst/>
              <a:gdLst>
                <a:gd name="T0" fmla="*/ 68 w 1693"/>
                <a:gd name="T1" fmla="*/ 1211 h 1973"/>
                <a:gd name="T2" fmla="*/ 8 w 1693"/>
                <a:gd name="T3" fmla="*/ 900 h 1973"/>
                <a:gd name="T4" fmla="*/ 108 w 1693"/>
                <a:gd name="T5" fmla="*/ 558 h 1973"/>
                <a:gd name="T6" fmla="*/ 340 w 1693"/>
                <a:gd name="T7" fmla="*/ 409 h 1973"/>
                <a:gd name="T8" fmla="*/ 680 w 1693"/>
                <a:gd name="T9" fmla="*/ 705 h 1973"/>
                <a:gd name="T10" fmla="*/ 694 w 1693"/>
                <a:gd name="T11" fmla="*/ 1022 h 1973"/>
                <a:gd name="T12" fmla="*/ 704 w 1693"/>
                <a:gd name="T13" fmla="*/ 1334 h 1973"/>
                <a:gd name="T14" fmla="*/ 711 w 1693"/>
                <a:gd name="T15" fmla="*/ 1369 h 1973"/>
                <a:gd name="T16" fmla="*/ 204 w 1693"/>
                <a:gd name="T17" fmla="*/ 1528 h 1973"/>
                <a:gd name="T18" fmla="*/ 188 w 1693"/>
                <a:gd name="T19" fmla="*/ 1496 h 1973"/>
                <a:gd name="T20" fmla="*/ 68 w 1693"/>
                <a:gd name="T21" fmla="*/ 1211 h 1973"/>
                <a:gd name="T22" fmla="*/ 709 w 1693"/>
                <a:gd name="T23" fmla="*/ 1480 h 1973"/>
                <a:gd name="T24" fmla="*/ 738 w 1693"/>
                <a:gd name="T25" fmla="*/ 1558 h 1973"/>
                <a:gd name="T26" fmla="*/ 610 w 1693"/>
                <a:gd name="T27" fmla="*/ 1929 h 1973"/>
                <a:gd name="T28" fmla="*/ 557 w 1693"/>
                <a:gd name="T29" fmla="*/ 1945 h 1973"/>
                <a:gd name="T30" fmla="*/ 247 w 1693"/>
                <a:gd name="T31" fmla="*/ 1712 h 1973"/>
                <a:gd name="T32" fmla="*/ 230 w 1693"/>
                <a:gd name="T33" fmla="*/ 1636 h 1973"/>
                <a:gd name="T34" fmla="*/ 709 w 1693"/>
                <a:gd name="T35" fmla="*/ 1480 h 1973"/>
                <a:gd name="T36" fmla="*/ 1685 w 1693"/>
                <a:gd name="T37" fmla="*/ 501 h 1973"/>
                <a:gd name="T38" fmla="*/ 1625 w 1693"/>
                <a:gd name="T39" fmla="*/ 813 h 1973"/>
                <a:gd name="T40" fmla="*/ 1504 w 1693"/>
                <a:gd name="T41" fmla="*/ 1098 h 1973"/>
                <a:gd name="T42" fmla="*/ 1489 w 1693"/>
                <a:gd name="T43" fmla="*/ 1129 h 1973"/>
                <a:gd name="T44" fmla="*/ 982 w 1693"/>
                <a:gd name="T45" fmla="*/ 970 h 1973"/>
                <a:gd name="T46" fmla="*/ 989 w 1693"/>
                <a:gd name="T47" fmla="*/ 935 h 1973"/>
                <a:gd name="T48" fmla="*/ 999 w 1693"/>
                <a:gd name="T49" fmla="*/ 624 h 1973"/>
                <a:gd name="T50" fmla="*/ 1013 w 1693"/>
                <a:gd name="T51" fmla="*/ 307 h 1973"/>
                <a:gd name="T52" fmla="*/ 1352 w 1693"/>
                <a:gd name="T53" fmla="*/ 10 h 1973"/>
                <a:gd name="T54" fmla="*/ 1584 w 1693"/>
                <a:gd name="T55" fmla="*/ 159 h 1973"/>
                <a:gd name="T56" fmla="*/ 1685 w 1693"/>
                <a:gd name="T57" fmla="*/ 501 h 1973"/>
                <a:gd name="T58" fmla="*/ 1463 w 1693"/>
                <a:gd name="T59" fmla="*/ 1238 h 1973"/>
                <a:gd name="T60" fmla="*/ 1456 w 1693"/>
                <a:gd name="T61" fmla="*/ 1272 h 1973"/>
                <a:gd name="T62" fmla="*/ 1446 w 1693"/>
                <a:gd name="T63" fmla="*/ 1314 h 1973"/>
                <a:gd name="T64" fmla="*/ 1136 w 1693"/>
                <a:gd name="T65" fmla="*/ 1546 h 1973"/>
                <a:gd name="T66" fmla="*/ 1105 w 1693"/>
                <a:gd name="T67" fmla="*/ 1539 h 1973"/>
                <a:gd name="T68" fmla="*/ 1082 w 1693"/>
                <a:gd name="T69" fmla="*/ 1531 h 1973"/>
                <a:gd name="T70" fmla="*/ 954 w 1693"/>
                <a:gd name="T71" fmla="*/ 1160 h 1973"/>
                <a:gd name="T72" fmla="*/ 970 w 1693"/>
                <a:gd name="T73" fmla="*/ 1117 h 1973"/>
                <a:gd name="T74" fmla="*/ 984 w 1693"/>
                <a:gd name="T75" fmla="*/ 1082 h 1973"/>
                <a:gd name="T76" fmla="*/ 1463 w 1693"/>
                <a:gd name="T77" fmla="*/ 1238 h 1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3" h="1973">
                  <a:moveTo>
                    <a:pt x="68" y="1211"/>
                  </a:moveTo>
                  <a:cubicBezTo>
                    <a:pt x="36" y="1116"/>
                    <a:pt x="16" y="1018"/>
                    <a:pt x="8" y="900"/>
                  </a:cubicBezTo>
                  <a:cubicBezTo>
                    <a:pt x="0" y="783"/>
                    <a:pt x="40" y="653"/>
                    <a:pt x="108" y="558"/>
                  </a:cubicBezTo>
                  <a:cubicBezTo>
                    <a:pt x="163" y="481"/>
                    <a:pt x="243" y="416"/>
                    <a:pt x="340" y="409"/>
                  </a:cubicBezTo>
                  <a:cubicBezTo>
                    <a:pt x="504" y="398"/>
                    <a:pt x="640" y="560"/>
                    <a:pt x="680" y="705"/>
                  </a:cubicBezTo>
                  <a:cubicBezTo>
                    <a:pt x="709" y="810"/>
                    <a:pt x="703" y="915"/>
                    <a:pt x="694" y="1022"/>
                  </a:cubicBezTo>
                  <a:cubicBezTo>
                    <a:pt x="682" y="1148"/>
                    <a:pt x="678" y="1199"/>
                    <a:pt x="704" y="1334"/>
                  </a:cubicBezTo>
                  <a:cubicBezTo>
                    <a:pt x="711" y="1369"/>
                    <a:pt x="711" y="1369"/>
                    <a:pt x="711" y="1369"/>
                  </a:cubicBezTo>
                  <a:cubicBezTo>
                    <a:pt x="542" y="1422"/>
                    <a:pt x="373" y="1474"/>
                    <a:pt x="204" y="1528"/>
                  </a:cubicBezTo>
                  <a:cubicBezTo>
                    <a:pt x="188" y="1496"/>
                    <a:pt x="188" y="1496"/>
                    <a:pt x="188" y="1496"/>
                  </a:cubicBezTo>
                  <a:cubicBezTo>
                    <a:pt x="139" y="1396"/>
                    <a:pt x="98" y="1306"/>
                    <a:pt x="68" y="1211"/>
                  </a:cubicBezTo>
                  <a:close/>
                  <a:moveTo>
                    <a:pt x="709" y="1480"/>
                  </a:moveTo>
                  <a:cubicBezTo>
                    <a:pt x="720" y="1506"/>
                    <a:pt x="730" y="1532"/>
                    <a:pt x="738" y="1558"/>
                  </a:cubicBezTo>
                  <a:cubicBezTo>
                    <a:pt x="782" y="1701"/>
                    <a:pt x="767" y="1867"/>
                    <a:pt x="610" y="1929"/>
                  </a:cubicBezTo>
                  <a:cubicBezTo>
                    <a:pt x="593" y="1936"/>
                    <a:pt x="575" y="1941"/>
                    <a:pt x="557" y="1945"/>
                  </a:cubicBezTo>
                  <a:cubicBezTo>
                    <a:pt x="402" y="1973"/>
                    <a:pt x="288" y="1849"/>
                    <a:pt x="247" y="1712"/>
                  </a:cubicBezTo>
                  <a:cubicBezTo>
                    <a:pt x="239" y="1687"/>
                    <a:pt x="235" y="1662"/>
                    <a:pt x="230" y="1636"/>
                  </a:cubicBezTo>
                  <a:lnTo>
                    <a:pt x="709" y="1480"/>
                  </a:lnTo>
                  <a:close/>
                  <a:moveTo>
                    <a:pt x="1685" y="501"/>
                  </a:moveTo>
                  <a:cubicBezTo>
                    <a:pt x="1677" y="619"/>
                    <a:pt x="1656" y="718"/>
                    <a:pt x="1625" y="813"/>
                  </a:cubicBezTo>
                  <a:cubicBezTo>
                    <a:pt x="1594" y="908"/>
                    <a:pt x="1553" y="997"/>
                    <a:pt x="1504" y="1098"/>
                  </a:cubicBezTo>
                  <a:cubicBezTo>
                    <a:pt x="1489" y="1129"/>
                    <a:pt x="1489" y="1129"/>
                    <a:pt x="1489" y="1129"/>
                  </a:cubicBezTo>
                  <a:cubicBezTo>
                    <a:pt x="982" y="970"/>
                    <a:pt x="982" y="970"/>
                    <a:pt x="982" y="970"/>
                  </a:cubicBezTo>
                  <a:cubicBezTo>
                    <a:pt x="989" y="935"/>
                    <a:pt x="989" y="935"/>
                    <a:pt x="989" y="935"/>
                  </a:cubicBezTo>
                  <a:cubicBezTo>
                    <a:pt x="1015" y="801"/>
                    <a:pt x="1011" y="750"/>
                    <a:pt x="999" y="624"/>
                  </a:cubicBezTo>
                  <a:cubicBezTo>
                    <a:pt x="990" y="517"/>
                    <a:pt x="984" y="412"/>
                    <a:pt x="1013" y="307"/>
                  </a:cubicBezTo>
                  <a:cubicBezTo>
                    <a:pt x="1053" y="162"/>
                    <a:pt x="1189" y="0"/>
                    <a:pt x="1352" y="10"/>
                  </a:cubicBezTo>
                  <a:cubicBezTo>
                    <a:pt x="1450" y="17"/>
                    <a:pt x="1530" y="83"/>
                    <a:pt x="1584" y="159"/>
                  </a:cubicBezTo>
                  <a:cubicBezTo>
                    <a:pt x="1652" y="255"/>
                    <a:pt x="1693" y="385"/>
                    <a:pt x="1685" y="501"/>
                  </a:cubicBezTo>
                  <a:close/>
                  <a:moveTo>
                    <a:pt x="1463" y="1238"/>
                  </a:moveTo>
                  <a:cubicBezTo>
                    <a:pt x="1456" y="1272"/>
                    <a:pt x="1456" y="1272"/>
                    <a:pt x="1456" y="1272"/>
                  </a:cubicBezTo>
                  <a:cubicBezTo>
                    <a:pt x="1454" y="1286"/>
                    <a:pt x="1450" y="1300"/>
                    <a:pt x="1446" y="1314"/>
                  </a:cubicBezTo>
                  <a:cubicBezTo>
                    <a:pt x="1404" y="1451"/>
                    <a:pt x="1291" y="1575"/>
                    <a:pt x="1136" y="1546"/>
                  </a:cubicBezTo>
                  <a:cubicBezTo>
                    <a:pt x="1126" y="1544"/>
                    <a:pt x="1115" y="1542"/>
                    <a:pt x="1105" y="1539"/>
                  </a:cubicBezTo>
                  <a:cubicBezTo>
                    <a:pt x="1097" y="1536"/>
                    <a:pt x="1090" y="1534"/>
                    <a:pt x="1082" y="1531"/>
                  </a:cubicBezTo>
                  <a:cubicBezTo>
                    <a:pt x="895" y="1456"/>
                    <a:pt x="904" y="1323"/>
                    <a:pt x="954" y="1160"/>
                  </a:cubicBezTo>
                  <a:cubicBezTo>
                    <a:pt x="959" y="1146"/>
                    <a:pt x="964" y="1131"/>
                    <a:pt x="970" y="1117"/>
                  </a:cubicBezTo>
                  <a:cubicBezTo>
                    <a:pt x="984" y="1082"/>
                    <a:pt x="984" y="1082"/>
                    <a:pt x="984" y="1082"/>
                  </a:cubicBezTo>
                  <a:lnTo>
                    <a:pt x="1463" y="123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 bwMode="gray">
          <a:xfrm>
            <a:off x="1280535" y="2055882"/>
            <a:ext cx="8280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E?</a:t>
            </a:r>
          </a:p>
        </p:txBody>
      </p:sp>
      <p:sp>
        <p:nvSpPr>
          <p:cNvPr id="38" name="TextBox 37"/>
          <p:cNvSpPr txBox="1"/>
          <p:nvPr/>
        </p:nvSpPr>
        <p:spPr bwMode="gray">
          <a:xfrm>
            <a:off x="1280535" y="5703059"/>
            <a:ext cx="49720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eestal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er ongeluk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f omdat het korter is</a:t>
            </a:r>
          </a:p>
        </p:txBody>
      </p:sp>
      <p:sp>
        <p:nvSpPr>
          <p:cNvPr id="12" name="Oval 11"/>
          <p:cNvSpPr/>
          <p:nvPr/>
        </p:nvSpPr>
        <p:spPr bwMode="gray">
          <a:xfrm>
            <a:off x="1895529" y="281583"/>
            <a:ext cx="1920000" cy="1920000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144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nl-BE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Conscious</a:t>
            </a: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conformers</a:t>
            </a:r>
            <a: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45%</a:t>
            </a:r>
            <a:b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endParaRPr lang="nl-BE" sz="2400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aphicFrame>
        <p:nvGraphicFramePr>
          <p:cNvPr id="64" name="Chart 63"/>
          <p:cNvGraphicFramePr/>
          <p:nvPr>
            <p:extLst/>
          </p:nvPr>
        </p:nvGraphicFramePr>
        <p:xfrm>
          <a:off x="9695708" y="1996184"/>
          <a:ext cx="2040459" cy="1694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0" name="TextBox 39"/>
          <p:cNvSpPr txBox="1"/>
          <p:nvPr/>
        </p:nvSpPr>
        <p:spPr bwMode="gray">
          <a:xfrm>
            <a:off x="1280535" y="3538990"/>
            <a:ext cx="23515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T DOEN ZE?</a:t>
            </a:r>
          </a:p>
        </p:txBody>
      </p:sp>
      <p:sp>
        <p:nvSpPr>
          <p:cNvPr id="41" name="TextBox 40"/>
          <p:cNvSpPr txBox="1"/>
          <p:nvPr/>
        </p:nvSpPr>
        <p:spPr bwMode="gray">
          <a:xfrm>
            <a:off x="1280535" y="5383965"/>
            <a:ext cx="47224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AROM LOPEN ZE OVER DE SPOREN?</a:t>
            </a:r>
          </a:p>
        </p:txBody>
      </p:sp>
      <p:sp>
        <p:nvSpPr>
          <p:cNvPr id="42" name="TextBox 41"/>
          <p:cNvSpPr txBox="1"/>
          <p:nvPr/>
        </p:nvSpPr>
        <p:spPr bwMode="gray">
          <a:xfrm>
            <a:off x="1280535" y="3902780"/>
            <a:ext cx="474941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5%</a:t>
            </a:r>
            <a:r>
              <a:rPr lang="nl-BE" sz="16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eft minstens 1 keer één van de gedragingen </a:t>
            </a:r>
            <a:b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e spoorlopen definiëren gesteld in de afgelopen </a:t>
            </a:r>
            <a:b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</a:t>
            </a:r>
          </a:p>
        </p:txBody>
      </p:sp>
      <p:sp>
        <p:nvSpPr>
          <p:cNvPr id="56" name="Rectangle 55"/>
          <p:cNvSpPr/>
          <p:nvPr/>
        </p:nvSpPr>
        <p:spPr bwMode="gray">
          <a:xfrm>
            <a:off x="10871336" y="6533769"/>
            <a:ext cx="255182" cy="1914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 bwMode="gray">
          <a:xfrm>
            <a:off x="10588347" y="6535109"/>
            <a:ext cx="255182" cy="191449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9" name="Freeform 3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653754" y="1996183"/>
            <a:ext cx="354052" cy="258657"/>
          </a:xfrm>
          <a:custGeom>
            <a:avLst/>
            <a:gdLst>
              <a:gd name="T0" fmla="*/ 160 w 2080"/>
              <a:gd name="T1" fmla="*/ 0 h 1520"/>
              <a:gd name="T2" fmla="*/ 1920 w 2080"/>
              <a:gd name="T3" fmla="*/ 0 h 1520"/>
              <a:gd name="T4" fmla="*/ 2080 w 2080"/>
              <a:gd name="T5" fmla="*/ 160 h 1520"/>
              <a:gd name="T6" fmla="*/ 2080 w 2080"/>
              <a:gd name="T7" fmla="*/ 1360 h 1520"/>
              <a:gd name="T8" fmla="*/ 1920 w 2080"/>
              <a:gd name="T9" fmla="*/ 1520 h 1520"/>
              <a:gd name="T10" fmla="*/ 160 w 2080"/>
              <a:gd name="T11" fmla="*/ 1520 h 1520"/>
              <a:gd name="T12" fmla="*/ 0 w 2080"/>
              <a:gd name="T13" fmla="*/ 1360 h 1520"/>
              <a:gd name="T14" fmla="*/ 0 w 2080"/>
              <a:gd name="T15" fmla="*/ 160 h 1520"/>
              <a:gd name="T16" fmla="*/ 160 w 2080"/>
              <a:gd name="T17" fmla="*/ 0 h 1520"/>
              <a:gd name="T18" fmla="*/ 1120 w 2080"/>
              <a:gd name="T19" fmla="*/ 320 h 1520"/>
              <a:gd name="T20" fmla="*/ 1120 w 2080"/>
              <a:gd name="T21" fmla="*/ 1360 h 1520"/>
              <a:gd name="T22" fmla="*/ 1920 w 2080"/>
              <a:gd name="T23" fmla="*/ 1360 h 1520"/>
              <a:gd name="T24" fmla="*/ 1920 w 2080"/>
              <a:gd name="T25" fmla="*/ 320 h 1520"/>
              <a:gd name="T26" fmla="*/ 1120 w 2080"/>
              <a:gd name="T27" fmla="*/ 320 h 1520"/>
              <a:gd name="T28" fmla="*/ 1840 w 2080"/>
              <a:gd name="T29" fmla="*/ 400 h 1520"/>
              <a:gd name="T30" fmla="*/ 1840 w 2080"/>
              <a:gd name="T31" fmla="*/ 1200 h 1520"/>
              <a:gd name="T32" fmla="*/ 1816 w 2080"/>
              <a:gd name="T33" fmla="*/ 1170 h 1520"/>
              <a:gd name="T34" fmla="*/ 1750 w 2080"/>
              <a:gd name="T35" fmla="*/ 1136 h 1520"/>
              <a:gd name="T36" fmla="*/ 1660 w 2080"/>
              <a:gd name="T37" fmla="*/ 1102 h 1520"/>
              <a:gd name="T38" fmla="*/ 1625 w 2080"/>
              <a:gd name="T39" fmla="*/ 996 h 1520"/>
              <a:gd name="T40" fmla="*/ 1689 w 2080"/>
              <a:gd name="T41" fmla="*/ 871 h 1520"/>
              <a:gd name="T42" fmla="*/ 1724 w 2080"/>
              <a:gd name="T43" fmla="*/ 779 h 1520"/>
              <a:gd name="T44" fmla="*/ 1731 w 2080"/>
              <a:gd name="T45" fmla="*/ 671 h 1520"/>
              <a:gd name="T46" fmla="*/ 1568 w 2080"/>
              <a:gd name="T47" fmla="*/ 545 h 1520"/>
              <a:gd name="T48" fmla="*/ 1511 w 2080"/>
              <a:gd name="T49" fmla="*/ 521 h 1520"/>
              <a:gd name="T50" fmla="*/ 1309 w 2080"/>
              <a:gd name="T51" fmla="*/ 672 h 1520"/>
              <a:gd name="T52" fmla="*/ 1316 w 2080"/>
              <a:gd name="T53" fmla="*/ 779 h 1520"/>
              <a:gd name="T54" fmla="*/ 1351 w 2080"/>
              <a:gd name="T55" fmla="*/ 871 h 1520"/>
              <a:gd name="T56" fmla="*/ 1415 w 2080"/>
              <a:gd name="T57" fmla="*/ 996 h 1520"/>
              <a:gd name="T58" fmla="*/ 1380 w 2080"/>
              <a:gd name="T59" fmla="*/ 1102 h 1520"/>
              <a:gd name="T60" fmla="*/ 1290 w 2080"/>
              <a:gd name="T61" fmla="*/ 1136 h 1520"/>
              <a:gd name="T62" fmla="*/ 1224 w 2080"/>
              <a:gd name="T63" fmla="*/ 1170 h 1520"/>
              <a:gd name="T64" fmla="*/ 1200 w 2080"/>
              <a:gd name="T65" fmla="*/ 1200 h 1520"/>
              <a:gd name="T66" fmla="*/ 1200 w 2080"/>
              <a:gd name="T67" fmla="*/ 400 h 1520"/>
              <a:gd name="T68" fmla="*/ 1840 w 2080"/>
              <a:gd name="T69" fmla="*/ 400 h 1520"/>
              <a:gd name="T70" fmla="*/ 240 w 2080"/>
              <a:gd name="T71" fmla="*/ 480 h 1520"/>
              <a:gd name="T72" fmla="*/ 240 w 2080"/>
              <a:gd name="T73" fmla="*/ 560 h 1520"/>
              <a:gd name="T74" fmla="*/ 959 w 2080"/>
              <a:gd name="T75" fmla="*/ 560 h 1520"/>
              <a:gd name="T76" fmla="*/ 959 w 2080"/>
              <a:gd name="T77" fmla="*/ 480 h 1520"/>
              <a:gd name="T78" fmla="*/ 240 w 2080"/>
              <a:gd name="T79" fmla="*/ 480 h 1520"/>
              <a:gd name="T80" fmla="*/ 241 w 2080"/>
              <a:gd name="T81" fmla="*/ 719 h 1520"/>
              <a:gd name="T82" fmla="*/ 241 w 2080"/>
              <a:gd name="T83" fmla="*/ 799 h 1520"/>
              <a:gd name="T84" fmla="*/ 960 w 2080"/>
              <a:gd name="T85" fmla="*/ 799 h 1520"/>
              <a:gd name="T86" fmla="*/ 960 w 2080"/>
              <a:gd name="T87" fmla="*/ 719 h 1520"/>
              <a:gd name="T88" fmla="*/ 241 w 2080"/>
              <a:gd name="T89" fmla="*/ 719 h 1520"/>
              <a:gd name="T90" fmla="*/ 241 w 2080"/>
              <a:gd name="T91" fmla="*/ 960 h 1520"/>
              <a:gd name="T92" fmla="*/ 241 w 2080"/>
              <a:gd name="T93" fmla="*/ 1040 h 1520"/>
              <a:gd name="T94" fmla="*/ 720 w 2080"/>
              <a:gd name="T95" fmla="*/ 1040 h 1520"/>
              <a:gd name="T96" fmla="*/ 720 w 2080"/>
              <a:gd name="T97" fmla="*/ 960 h 1520"/>
              <a:gd name="T98" fmla="*/ 241 w 2080"/>
              <a:gd name="T99" fmla="*/ 96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520">
                <a:moveTo>
                  <a:pt x="160" y="0"/>
                </a:moveTo>
                <a:cubicBezTo>
                  <a:pt x="1920" y="0"/>
                  <a:pt x="1920" y="0"/>
                  <a:pt x="1920" y="0"/>
                </a:cubicBezTo>
                <a:cubicBezTo>
                  <a:pt x="2008" y="0"/>
                  <a:pt x="2080" y="72"/>
                  <a:pt x="2080" y="160"/>
                </a:cubicBezTo>
                <a:cubicBezTo>
                  <a:pt x="2080" y="1360"/>
                  <a:pt x="2080" y="1360"/>
                  <a:pt x="2080" y="1360"/>
                </a:cubicBezTo>
                <a:cubicBezTo>
                  <a:pt x="2080" y="1448"/>
                  <a:pt x="2008" y="1520"/>
                  <a:pt x="1920" y="1520"/>
                </a:cubicBezTo>
                <a:cubicBezTo>
                  <a:pt x="160" y="1520"/>
                  <a:pt x="160" y="1520"/>
                  <a:pt x="160" y="1520"/>
                </a:cubicBezTo>
                <a:cubicBezTo>
                  <a:pt x="72" y="1520"/>
                  <a:pt x="0" y="1448"/>
                  <a:pt x="0" y="13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72"/>
                  <a:pt x="72" y="0"/>
                  <a:pt x="160" y="0"/>
                </a:cubicBezTo>
                <a:close/>
                <a:moveTo>
                  <a:pt x="1120" y="320"/>
                </a:moveTo>
                <a:cubicBezTo>
                  <a:pt x="1120" y="1360"/>
                  <a:pt x="1120" y="1360"/>
                  <a:pt x="1120" y="1360"/>
                </a:cubicBezTo>
                <a:cubicBezTo>
                  <a:pt x="1920" y="1360"/>
                  <a:pt x="1920" y="1360"/>
                  <a:pt x="1920" y="1360"/>
                </a:cubicBezTo>
                <a:cubicBezTo>
                  <a:pt x="1920" y="320"/>
                  <a:pt x="1920" y="320"/>
                  <a:pt x="1920" y="320"/>
                </a:cubicBezTo>
                <a:lnTo>
                  <a:pt x="1120" y="320"/>
                </a:lnTo>
                <a:close/>
                <a:moveTo>
                  <a:pt x="1840" y="400"/>
                </a:moveTo>
                <a:cubicBezTo>
                  <a:pt x="1840" y="1200"/>
                  <a:pt x="1840" y="1200"/>
                  <a:pt x="1840" y="1200"/>
                </a:cubicBezTo>
                <a:cubicBezTo>
                  <a:pt x="1833" y="1189"/>
                  <a:pt x="1825" y="1178"/>
                  <a:pt x="1816" y="1170"/>
                </a:cubicBezTo>
                <a:cubicBezTo>
                  <a:pt x="1799" y="1154"/>
                  <a:pt x="1772" y="1144"/>
                  <a:pt x="1750" y="1136"/>
                </a:cubicBezTo>
                <a:cubicBezTo>
                  <a:pt x="1714" y="1123"/>
                  <a:pt x="1693" y="1122"/>
                  <a:pt x="1660" y="1102"/>
                </a:cubicBezTo>
                <a:cubicBezTo>
                  <a:pt x="1628" y="1083"/>
                  <a:pt x="1626" y="1029"/>
                  <a:pt x="1625" y="996"/>
                </a:cubicBezTo>
                <a:cubicBezTo>
                  <a:pt x="1654" y="968"/>
                  <a:pt x="1679" y="908"/>
                  <a:pt x="1689" y="871"/>
                </a:cubicBezTo>
                <a:cubicBezTo>
                  <a:pt x="1722" y="855"/>
                  <a:pt x="1734" y="813"/>
                  <a:pt x="1724" y="779"/>
                </a:cubicBezTo>
                <a:cubicBezTo>
                  <a:pt x="1731" y="671"/>
                  <a:pt x="1731" y="671"/>
                  <a:pt x="1731" y="671"/>
                </a:cubicBezTo>
                <a:cubicBezTo>
                  <a:pt x="1738" y="594"/>
                  <a:pt x="1645" y="507"/>
                  <a:pt x="1568" y="545"/>
                </a:cubicBezTo>
                <a:cubicBezTo>
                  <a:pt x="1548" y="532"/>
                  <a:pt x="1536" y="525"/>
                  <a:pt x="1511" y="521"/>
                </a:cubicBezTo>
                <a:cubicBezTo>
                  <a:pt x="1413" y="505"/>
                  <a:pt x="1307" y="564"/>
                  <a:pt x="1309" y="672"/>
                </a:cubicBezTo>
                <a:cubicBezTo>
                  <a:pt x="1316" y="779"/>
                  <a:pt x="1316" y="779"/>
                  <a:pt x="1316" y="779"/>
                </a:cubicBezTo>
                <a:cubicBezTo>
                  <a:pt x="1306" y="812"/>
                  <a:pt x="1318" y="855"/>
                  <a:pt x="1351" y="871"/>
                </a:cubicBezTo>
                <a:cubicBezTo>
                  <a:pt x="1361" y="909"/>
                  <a:pt x="1387" y="969"/>
                  <a:pt x="1415" y="996"/>
                </a:cubicBezTo>
                <a:cubicBezTo>
                  <a:pt x="1415" y="1028"/>
                  <a:pt x="1410" y="1084"/>
                  <a:pt x="1380" y="1102"/>
                </a:cubicBezTo>
                <a:cubicBezTo>
                  <a:pt x="1347" y="1122"/>
                  <a:pt x="1326" y="1123"/>
                  <a:pt x="1290" y="1136"/>
                </a:cubicBezTo>
                <a:cubicBezTo>
                  <a:pt x="1268" y="1144"/>
                  <a:pt x="1241" y="1154"/>
                  <a:pt x="1224" y="1170"/>
                </a:cubicBezTo>
                <a:cubicBezTo>
                  <a:pt x="1215" y="1178"/>
                  <a:pt x="1207" y="1189"/>
                  <a:pt x="1200" y="1200"/>
                </a:cubicBezTo>
                <a:cubicBezTo>
                  <a:pt x="1200" y="400"/>
                  <a:pt x="1200" y="400"/>
                  <a:pt x="1200" y="400"/>
                </a:cubicBezTo>
                <a:lnTo>
                  <a:pt x="1840" y="400"/>
                </a:lnTo>
                <a:close/>
                <a:moveTo>
                  <a:pt x="240" y="480"/>
                </a:moveTo>
                <a:cubicBezTo>
                  <a:pt x="240" y="560"/>
                  <a:pt x="240" y="560"/>
                  <a:pt x="240" y="560"/>
                </a:cubicBezTo>
                <a:cubicBezTo>
                  <a:pt x="959" y="560"/>
                  <a:pt x="959" y="560"/>
                  <a:pt x="959" y="560"/>
                </a:cubicBezTo>
                <a:cubicBezTo>
                  <a:pt x="959" y="480"/>
                  <a:pt x="959" y="480"/>
                  <a:pt x="959" y="480"/>
                </a:cubicBezTo>
                <a:lnTo>
                  <a:pt x="240" y="480"/>
                </a:lnTo>
                <a:close/>
                <a:moveTo>
                  <a:pt x="241" y="719"/>
                </a:moveTo>
                <a:cubicBezTo>
                  <a:pt x="241" y="799"/>
                  <a:pt x="241" y="799"/>
                  <a:pt x="241" y="799"/>
                </a:cubicBezTo>
                <a:cubicBezTo>
                  <a:pt x="960" y="799"/>
                  <a:pt x="960" y="799"/>
                  <a:pt x="960" y="799"/>
                </a:cubicBezTo>
                <a:cubicBezTo>
                  <a:pt x="960" y="719"/>
                  <a:pt x="960" y="719"/>
                  <a:pt x="960" y="719"/>
                </a:cubicBezTo>
                <a:lnTo>
                  <a:pt x="241" y="719"/>
                </a:lnTo>
                <a:close/>
                <a:moveTo>
                  <a:pt x="241" y="960"/>
                </a:moveTo>
                <a:cubicBezTo>
                  <a:pt x="241" y="1040"/>
                  <a:pt x="241" y="1040"/>
                  <a:pt x="241" y="1040"/>
                </a:cubicBezTo>
                <a:cubicBezTo>
                  <a:pt x="720" y="1040"/>
                  <a:pt x="720" y="1040"/>
                  <a:pt x="720" y="1040"/>
                </a:cubicBezTo>
                <a:cubicBezTo>
                  <a:pt x="720" y="960"/>
                  <a:pt x="720" y="960"/>
                  <a:pt x="720" y="960"/>
                </a:cubicBezTo>
                <a:lnTo>
                  <a:pt x="241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 bwMode="gray">
          <a:xfrm>
            <a:off x="8039648" y="191732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eftijd</a:t>
            </a:r>
          </a:p>
        </p:txBody>
      </p:sp>
      <p:graphicFrame>
        <p:nvGraphicFramePr>
          <p:cNvPr id="71" name="Chart 70"/>
          <p:cNvGraphicFramePr/>
          <p:nvPr>
            <p:extLst>
              <p:ext uri="{D42A27DB-BD31-4B8C-83A1-F6EECF244321}">
                <p14:modId xmlns:p14="http://schemas.microsoft.com/office/powerpoint/2010/main" val="3331791248"/>
              </p:ext>
            </p:extLst>
          </p:nvPr>
        </p:nvGraphicFramePr>
        <p:xfrm>
          <a:off x="7242100" y="2134448"/>
          <a:ext cx="2424182" cy="1390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2" name="TextBox 71"/>
          <p:cNvSpPr txBox="1"/>
          <p:nvPr/>
        </p:nvSpPr>
        <p:spPr bwMode="gray">
          <a:xfrm>
            <a:off x="9972733" y="1913309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roep</a:t>
            </a:r>
          </a:p>
        </p:txBody>
      </p:sp>
      <p:cxnSp>
        <p:nvCxnSpPr>
          <p:cNvPr id="74" name="Straight Connector 73"/>
          <p:cNvCxnSpPr/>
          <p:nvPr/>
        </p:nvCxnSpPr>
        <p:spPr>
          <a:xfrm flipV="1">
            <a:off x="8895862" y="4038944"/>
            <a:ext cx="90000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 bwMode="gray">
          <a:xfrm>
            <a:off x="9795589" y="4196928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%</a:t>
            </a:r>
          </a:p>
        </p:txBody>
      </p:sp>
      <p:sp>
        <p:nvSpPr>
          <p:cNvPr id="76" name="TextBox 75"/>
          <p:cNvSpPr txBox="1"/>
          <p:nvPr/>
        </p:nvSpPr>
        <p:spPr bwMode="gray">
          <a:xfrm>
            <a:off x="8682938" y="4109077"/>
            <a:ext cx="12758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 de rand van het perron zitten</a:t>
            </a:r>
          </a:p>
        </p:txBody>
      </p:sp>
      <p:sp>
        <p:nvSpPr>
          <p:cNvPr id="77" name="TextBox 76"/>
          <p:cNvSpPr txBox="1"/>
          <p:nvPr/>
        </p:nvSpPr>
        <p:spPr bwMode="gray">
          <a:xfrm>
            <a:off x="9819230" y="4636623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3%</a:t>
            </a:r>
          </a:p>
        </p:txBody>
      </p:sp>
      <p:sp>
        <p:nvSpPr>
          <p:cNvPr id="78" name="TextBox 77"/>
          <p:cNvSpPr txBox="1"/>
          <p:nvPr/>
        </p:nvSpPr>
        <p:spPr bwMode="gray">
          <a:xfrm>
            <a:off x="8696905" y="4940485"/>
            <a:ext cx="140526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an het ene perron naar het andere gaan</a:t>
            </a:r>
          </a:p>
        </p:txBody>
      </p:sp>
      <p:sp>
        <p:nvSpPr>
          <p:cNvPr id="79" name="TextBox 78"/>
          <p:cNvSpPr txBox="1"/>
          <p:nvPr/>
        </p:nvSpPr>
        <p:spPr bwMode="gray">
          <a:xfrm>
            <a:off x="9832905" y="5085764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3%</a:t>
            </a:r>
          </a:p>
        </p:txBody>
      </p:sp>
      <p:sp>
        <p:nvSpPr>
          <p:cNvPr id="80" name="TextBox 79"/>
          <p:cNvSpPr txBox="1"/>
          <p:nvPr/>
        </p:nvSpPr>
        <p:spPr bwMode="gray">
          <a:xfrm>
            <a:off x="8573031" y="4547923"/>
            <a:ext cx="15291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et vrienden afspreken naast de sporen</a:t>
            </a:r>
          </a:p>
        </p:txBody>
      </p:sp>
      <p:sp>
        <p:nvSpPr>
          <p:cNvPr id="81" name="Freeform 1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668729" y="3595457"/>
            <a:ext cx="292481" cy="340814"/>
          </a:xfrm>
          <a:custGeom>
            <a:avLst/>
            <a:gdLst>
              <a:gd name="T0" fmla="*/ 68 w 1693"/>
              <a:gd name="T1" fmla="*/ 1211 h 1973"/>
              <a:gd name="T2" fmla="*/ 8 w 1693"/>
              <a:gd name="T3" fmla="*/ 900 h 1973"/>
              <a:gd name="T4" fmla="*/ 108 w 1693"/>
              <a:gd name="T5" fmla="*/ 558 h 1973"/>
              <a:gd name="T6" fmla="*/ 340 w 1693"/>
              <a:gd name="T7" fmla="*/ 409 h 1973"/>
              <a:gd name="T8" fmla="*/ 680 w 1693"/>
              <a:gd name="T9" fmla="*/ 705 h 1973"/>
              <a:gd name="T10" fmla="*/ 694 w 1693"/>
              <a:gd name="T11" fmla="*/ 1022 h 1973"/>
              <a:gd name="T12" fmla="*/ 704 w 1693"/>
              <a:gd name="T13" fmla="*/ 1334 h 1973"/>
              <a:gd name="T14" fmla="*/ 711 w 1693"/>
              <a:gd name="T15" fmla="*/ 1369 h 1973"/>
              <a:gd name="T16" fmla="*/ 204 w 1693"/>
              <a:gd name="T17" fmla="*/ 1528 h 1973"/>
              <a:gd name="T18" fmla="*/ 188 w 1693"/>
              <a:gd name="T19" fmla="*/ 1496 h 1973"/>
              <a:gd name="T20" fmla="*/ 68 w 1693"/>
              <a:gd name="T21" fmla="*/ 1211 h 1973"/>
              <a:gd name="T22" fmla="*/ 709 w 1693"/>
              <a:gd name="T23" fmla="*/ 1480 h 1973"/>
              <a:gd name="T24" fmla="*/ 738 w 1693"/>
              <a:gd name="T25" fmla="*/ 1558 h 1973"/>
              <a:gd name="T26" fmla="*/ 610 w 1693"/>
              <a:gd name="T27" fmla="*/ 1929 h 1973"/>
              <a:gd name="T28" fmla="*/ 557 w 1693"/>
              <a:gd name="T29" fmla="*/ 1945 h 1973"/>
              <a:gd name="T30" fmla="*/ 247 w 1693"/>
              <a:gd name="T31" fmla="*/ 1712 h 1973"/>
              <a:gd name="T32" fmla="*/ 230 w 1693"/>
              <a:gd name="T33" fmla="*/ 1636 h 1973"/>
              <a:gd name="T34" fmla="*/ 709 w 1693"/>
              <a:gd name="T35" fmla="*/ 1480 h 1973"/>
              <a:gd name="T36" fmla="*/ 1685 w 1693"/>
              <a:gd name="T37" fmla="*/ 501 h 1973"/>
              <a:gd name="T38" fmla="*/ 1625 w 1693"/>
              <a:gd name="T39" fmla="*/ 813 h 1973"/>
              <a:gd name="T40" fmla="*/ 1504 w 1693"/>
              <a:gd name="T41" fmla="*/ 1098 h 1973"/>
              <a:gd name="T42" fmla="*/ 1489 w 1693"/>
              <a:gd name="T43" fmla="*/ 1129 h 1973"/>
              <a:gd name="T44" fmla="*/ 982 w 1693"/>
              <a:gd name="T45" fmla="*/ 970 h 1973"/>
              <a:gd name="T46" fmla="*/ 989 w 1693"/>
              <a:gd name="T47" fmla="*/ 935 h 1973"/>
              <a:gd name="T48" fmla="*/ 999 w 1693"/>
              <a:gd name="T49" fmla="*/ 624 h 1973"/>
              <a:gd name="T50" fmla="*/ 1013 w 1693"/>
              <a:gd name="T51" fmla="*/ 307 h 1973"/>
              <a:gd name="T52" fmla="*/ 1352 w 1693"/>
              <a:gd name="T53" fmla="*/ 10 h 1973"/>
              <a:gd name="T54" fmla="*/ 1584 w 1693"/>
              <a:gd name="T55" fmla="*/ 159 h 1973"/>
              <a:gd name="T56" fmla="*/ 1685 w 1693"/>
              <a:gd name="T57" fmla="*/ 501 h 1973"/>
              <a:gd name="T58" fmla="*/ 1463 w 1693"/>
              <a:gd name="T59" fmla="*/ 1238 h 1973"/>
              <a:gd name="T60" fmla="*/ 1456 w 1693"/>
              <a:gd name="T61" fmla="*/ 1272 h 1973"/>
              <a:gd name="T62" fmla="*/ 1446 w 1693"/>
              <a:gd name="T63" fmla="*/ 1314 h 1973"/>
              <a:gd name="T64" fmla="*/ 1136 w 1693"/>
              <a:gd name="T65" fmla="*/ 1546 h 1973"/>
              <a:gd name="T66" fmla="*/ 1105 w 1693"/>
              <a:gd name="T67" fmla="*/ 1539 h 1973"/>
              <a:gd name="T68" fmla="*/ 1082 w 1693"/>
              <a:gd name="T69" fmla="*/ 1531 h 1973"/>
              <a:gd name="T70" fmla="*/ 954 w 1693"/>
              <a:gd name="T71" fmla="*/ 1160 h 1973"/>
              <a:gd name="T72" fmla="*/ 970 w 1693"/>
              <a:gd name="T73" fmla="*/ 1117 h 1973"/>
              <a:gd name="T74" fmla="*/ 984 w 1693"/>
              <a:gd name="T75" fmla="*/ 1082 h 1973"/>
              <a:gd name="T76" fmla="*/ 1463 w 1693"/>
              <a:gd name="T77" fmla="*/ 1238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3" h="1973">
                <a:moveTo>
                  <a:pt x="68" y="1211"/>
                </a:moveTo>
                <a:cubicBezTo>
                  <a:pt x="36" y="1116"/>
                  <a:pt x="16" y="1018"/>
                  <a:pt x="8" y="900"/>
                </a:cubicBezTo>
                <a:cubicBezTo>
                  <a:pt x="0" y="783"/>
                  <a:pt x="40" y="653"/>
                  <a:pt x="108" y="558"/>
                </a:cubicBezTo>
                <a:cubicBezTo>
                  <a:pt x="163" y="481"/>
                  <a:pt x="243" y="416"/>
                  <a:pt x="340" y="409"/>
                </a:cubicBezTo>
                <a:cubicBezTo>
                  <a:pt x="504" y="398"/>
                  <a:pt x="640" y="560"/>
                  <a:pt x="680" y="705"/>
                </a:cubicBezTo>
                <a:cubicBezTo>
                  <a:pt x="709" y="810"/>
                  <a:pt x="703" y="915"/>
                  <a:pt x="694" y="1022"/>
                </a:cubicBezTo>
                <a:cubicBezTo>
                  <a:pt x="682" y="1148"/>
                  <a:pt x="678" y="1199"/>
                  <a:pt x="704" y="1334"/>
                </a:cubicBezTo>
                <a:cubicBezTo>
                  <a:pt x="711" y="1369"/>
                  <a:pt x="711" y="1369"/>
                  <a:pt x="711" y="1369"/>
                </a:cubicBezTo>
                <a:cubicBezTo>
                  <a:pt x="542" y="1422"/>
                  <a:pt x="373" y="1474"/>
                  <a:pt x="204" y="1528"/>
                </a:cubicBezTo>
                <a:cubicBezTo>
                  <a:pt x="188" y="1496"/>
                  <a:pt x="188" y="1496"/>
                  <a:pt x="188" y="1496"/>
                </a:cubicBezTo>
                <a:cubicBezTo>
                  <a:pt x="139" y="1396"/>
                  <a:pt x="98" y="1306"/>
                  <a:pt x="68" y="1211"/>
                </a:cubicBezTo>
                <a:close/>
                <a:moveTo>
                  <a:pt x="709" y="1480"/>
                </a:moveTo>
                <a:cubicBezTo>
                  <a:pt x="720" y="1506"/>
                  <a:pt x="730" y="1532"/>
                  <a:pt x="738" y="1558"/>
                </a:cubicBezTo>
                <a:cubicBezTo>
                  <a:pt x="782" y="1701"/>
                  <a:pt x="767" y="1867"/>
                  <a:pt x="610" y="1929"/>
                </a:cubicBezTo>
                <a:cubicBezTo>
                  <a:pt x="593" y="1936"/>
                  <a:pt x="575" y="1941"/>
                  <a:pt x="557" y="1945"/>
                </a:cubicBezTo>
                <a:cubicBezTo>
                  <a:pt x="402" y="1973"/>
                  <a:pt x="288" y="1849"/>
                  <a:pt x="247" y="1712"/>
                </a:cubicBezTo>
                <a:cubicBezTo>
                  <a:pt x="239" y="1687"/>
                  <a:pt x="235" y="1662"/>
                  <a:pt x="230" y="1636"/>
                </a:cubicBezTo>
                <a:lnTo>
                  <a:pt x="709" y="1480"/>
                </a:lnTo>
                <a:close/>
                <a:moveTo>
                  <a:pt x="1685" y="501"/>
                </a:moveTo>
                <a:cubicBezTo>
                  <a:pt x="1677" y="619"/>
                  <a:pt x="1656" y="718"/>
                  <a:pt x="1625" y="813"/>
                </a:cubicBezTo>
                <a:cubicBezTo>
                  <a:pt x="1594" y="908"/>
                  <a:pt x="1553" y="997"/>
                  <a:pt x="1504" y="1098"/>
                </a:cubicBezTo>
                <a:cubicBezTo>
                  <a:pt x="1489" y="1129"/>
                  <a:pt x="1489" y="1129"/>
                  <a:pt x="1489" y="1129"/>
                </a:cubicBezTo>
                <a:cubicBezTo>
                  <a:pt x="982" y="970"/>
                  <a:pt x="982" y="970"/>
                  <a:pt x="982" y="970"/>
                </a:cubicBezTo>
                <a:cubicBezTo>
                  <a:pt x="989" y="935"/>
                  <a:pt x="989" y="935"/>
                  <a:pt x="989" y="935"/>
                </a:cubicBezTo>
                <a:cubicBezTo>
                  <a:pt x="1015" y="801"/>
                  <a:pt x="1011" y="750"/>
                  <a:pt x="999" y="624"/>
                </a:cubicBezTo>
                <a:cubicBezTo>
                  <a:pt x="990" y="517"/>
                  <a:pt x="984" y="412"/>
                  <a:pt x="1013" y="307"/>
                </a:cubicBezTo>
                <a:cubicBezTo>
                  <a:pt x="1053" y="162"/>
                  <a:pt x="1189" y="0"/>
                  <a:pt x="1352" y="10"/>
                </a:cubicBezTo>
                <a:cubicBezTo>
                  <a:pt x="1450" y="17"/>
                  <a:pt x="1530" y="83"/>
                  <a:pt x="1584" y="159"/>
                </a:cubicBezTo>
                <a:cubicBezTo>
                  <a:pt x="1652" y="255"/>
                  <a:pt x="1693" y="385"/>
                  <a:pt x="1685" y="501"/>
                </a:cubicBezTo>
                <a:close/>
                <a:moveTo>
                  <a:pt x="1463" y="1238"/>
                </a:moveTo>
                <a:cubicBezTo>
                  <a:pt x="1456" y="1272"/>
                  <a:pt x="1456" y="1272"/>
                  <a:pt x="1456" y="1272"/>
                </a:cubicBezTo>
                <a:cubicBezTo>
                  <a:pt x="1454" y="1286"/>
                  <a:pt x="1450" y="1300"/>
                  <a:pt x="1446" y="1314"/>
                </a:cubicBezTo>
                <a:cubicBezTo>
                  <a:pt x="1404" y="1451"/>
                  <a:pt x="1291" y="1575"/>
                  <a:pt x="1136" y="1546"/>
                </a:cubicBezTo>
                <a:cubicBezTo>
                  <a:pt x="1126" y="1544"/>
                  <a:pt x="1115" y="1542"/>
                  <a:pt x="1105" y="1539"/>
                </a:cubicBezTo>
                <a:cubicBezTo>
                  <a:pt x="1097" y="1536"/>
                  <a:pt x="1090" y="1534"/>
                  <a:pt x="1082" y="1531"/>
                </a:cubicBezTo>
                <a:cubicBezTo>
                  <a:pt x="895" y="1456"/>
                  <a:pt x="904" y="1323"/>
                  <a:pt x="954" y="1160"/>
                </a:cubicBezTo>
                <a:cubicBezTo>
                  <a:pt x="959" y="1146"/>
                  <a:pt x="964" y="1131"/>
                  <a:pt x="970" y="1117"/>
                </a:cubicBezTo>
                <a:cubicBezTo>
                  <a:pt x="984" y="1082"/>
                  <a:pt x="984" y="1082"/>
                  <a:pt x="984" y="1082"/>
                </a:cubicBezTo>
                <a:lnTo>
                  <a:pt x="1463" y="1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3" name="TextBox 82"/>
          <p:cNvSpPr txBox="1"/>
          <p:nvPr/>
        </p:nvSpPr>
        <p:spPr bwMode="gray">
          <a:xfrm>
            <a:off x="7989703" y="5498648"/>
            <a:ext cx="329591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wuste Conformeerders </a:t>
            </a:r>
            <a:r>
              <a:rPr lang="nl-BE" sz="1600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schouwen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al het </a:t>
            </a:r>
            <a:r>
              <a:rPr lang="nl-BE" sz="1600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noemde risicogedrag als meer gevaarlijk 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an de anderen. 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8184232" y="4947018"/>
            <a:ext cx="376567" cy="252850"/>
            <a:chOff x="5063326" y="4327256"/>
            <a:chExt cx="551332" cy="305949"/>
          </a:xfrm>
        </p:grpSpPr>
        <p:sp>
          <p:nvSpPr>
            <p:cNvPr id="89" name="Freeform 43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5063326" y="4327256"/>
              <a:ext cx="235372" cy="217606"/>
            </a:xfrm>
            <a:custGeom>
              <a:avLst/>
              <a:gdLst>
                <a:gd name="T0" fmla="*/ 55 w 5008"/>
                <a:gd name="T1" fmla="*/ 3307 h 4630"/>
                <a:gd name="T2" fmla="*/ 3362 w 5008"/>
                <a:gd name="T3" fmla="*/ 0 h 4630"/>
                <a:gd name="T4" fmla="*/ 4873 w 5008"/>
                <a:gd name="T5" fmla="*/ 0 h 4630"/>
                <a:gd name="T6" fmla="*/ 1566 w 5008"/>
                <a:gd name="T7" fmla="*/ 3307 h 4630"/>
                <a:gd name="T8" fmla="*/ 55 w 5008"/>
                <a:gd name="T9" fmla="*/ 3307 h 4630"/>
                <a:gd name="T10" fmla="*/ 5008 w 5008"/>
                <a:gd name="T11" fmla="*/ 135 h 4630"/>
                <a:gd name="T12" fmla="*/ 5008 w 5008"/>
                <a:gd name="T13" fmla="*/ 1269 h 4630"/>
                <a:gd name="T14" fmla="*/ 1701 w 5008"/>
                <a:gd name="T15" fmla="*/ 4576 h 4630"/>
                <a:gd name="T16" fmla="*/ 1701 w 5008"/>
                <a:gd name="T17" fmla="*/ 3442 h 4630"/>
                <a:gd name="T18" fmla="*/ 5008 w 5008"/>
                <a:gd name="T19" fmla="*/ 135 h 4630"/>
                <a:gd name="T20" fmla="*/ 1512 w 5008"/>
                <a:gd name="T21" fmla="*/ 4630 h 4630"/>
                <a:gd name="T22" fmla="*/ 0 w 5008"/>
                <a:gd name="T23" fmla="*/ 4630 h 4630"/>
                <a:gd name="T24" fmla="*/ 0 w 5008"/>
                <a:gd name="T25" fmla="*/ 3496 h 4630"/>
                <a:gd name="T26" fmla="*/ 1512 w 5008"/>
                <a:gd name="T27" fmla="*/ 3496 h 4630"/>
                <a:gd name="T28" fmla="*/ 1512 w 5008"/>
                <a:gd name="T29" fmla="*/ 4630 h 4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08" h="4630">
                  <a:moveTo>
                    <a:pt x="55" y="3307"/>
                  </a:moveTo>
                  <a:lnTo>
                    <a:pt x="3362" y="0"/>
                  </a:lnTo>
                  <a:lnTo>
                    <a:pt x="4873" y="0"/>
                  </a:lnTo>
                  <a:lnTo>
                    <a:pt x="1566" y="3307"/>
                  </a:lnTo>
                  <a:lnTo>
                    <a:pt x="55" y="3307"/>
                  </a:lnTo>
                  <a:close/>
                  <a:moveTo>
                    <a:pt x="5008" y="135"/>
                  </a:moveTo>
                  <a:lnTo>
                    <a:pt x="5008" y="1269"/>
                  </a:lnTo>
                  <a:lnTo>
                    <a:pt x="1701" y="4576"/>
                  </a:lnTo>
                  <a:lnTo>
                    <a:pt x="1701" y="3442"/>
                  </a:lnTo>
                  <a:lnTo>
                    <a:pt x="5008" y="135"/>
                  </a:lnTo>
                  <a:close/>
                  <a:moveTo>
                    <a:pt x="1512" y="4630"/>
                  </a:moveTo>
                  <a:lnTo>
                    <a:pt x="0" y="4630"/>
                  </a:lnTo>
                  <a:lnTo>
                    <a:pt x="0" y="3496"/>
                  </a:lnTo>
                  <a:lnTo>
                    <a:pt x="1512" y="3496"/>
                  </a:lnTo>
                  <a:lnTo>
                    <a:pt x="1512" y="463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43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5379286" y="4415599"/>
              <a:ext cx="235372" cy="217606"/>
            </a:xfrm>
            <a:custGeom>
              <a:avLst/>
              <a:gdLst>
                <a:gd name="T0" fmla="*/ 55 w 5008"/>
                <a:gd name="T1" fmla="*/ 3307 h 4630"/>
                <a:gd name="T2" fmla="*/ 3362 w 5008"/>
                <a:gd name="T3" fmla="*/ 0 h 4630"/>
                <a:gd name="T4" fmla="*/ 4873 w 5008"/>
                <a:gd name="T5" fmla="*/ 0 h 4630"/>
                <a:gd name="T6" fmla="*/ 1566 w 5008"/>
                <a:gd name="T7" fmla="*/ 3307 h 4630"/>
                <a:gd name="T8" fmla="*/ 55 w 5008"/>
                <a:gd name="T9" fmla="*/ 3307 h 4630"/>
                <a:gd name="T10" fmla="*/ 5008 w 5008"/>
                <a:gd name="T11" fmla="*/ 135 h 4630"/>
                <a:gd name="T12" fmla="*/ 5008 w 5008"/>
                <a:gd name="T13" fmla="*/ 1269 h 4630"/>
                <a:gd name="T14" fmla="*/ 1701 w 5008"/>
                <a:gd name="T15" fmla="*/ 4576 h 4630"/>
                <a:gd name="T16" fmla="*/ 1701 w 5008"/>
                <a:gd name="T17" fmla="*/ 3442 h 4630"/>
                <a:gd name="T18" fmla="*/ 5008 w 5008"/>
                <a:gd name="T19" fmla="*/ 135 h 4630"/>
                <a:gd name="T20" fmla="*/ 1512 w 5008"/>
                <a:gd name="T21" fmla="*/ 4630 h 4630"/>
                <a:gd name="T22" fmla="*/ 0 w 5008"/>
                <a:gd name="T23" fmla="*/ 4630 h 4630"/>
                <a:gd name="T24" fmla="*/ 0 w 5008"/>
                <a:gd name="T25" fmla="*/ 3496 h 4630"/>
                <a:gd name="T26" fmla="*/ 1512 w 5008"/>
                <a:gd name="T27" fmla="*/ 3496 h 4630"/>
                <a:gd name="T28" fmla="*/ 1512 w 5008"/>
                <a:gd name="T29" fmla="*/ 4630 h 4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08" h="4630">
                  <a:moveTo>
                    <a:pt x="55" y="3307"/>
                  </a:moveTo>
                  <a:lnTo>
                    <a:pt x="3362" y="0"/>
                  </a:lnTo>
                  <a:lnTo>
                    <a:pt x="4873" y="0"/>
                  </a:lnTo>
                  <a:lnTo>
                    <a:pt x="1566" y="3307"/>
                  </a:lnTo>
                  <a:lnTo>
                    <a:pt x="55" y="3307"/>
                  </a:lnTo>
                  <a:close/>
                  <a:moveTo>
                    <a:pt x="5008" y="135"/>
                  </a:moveTo>
                  <a:lnTo>
                    <a:pt x="5008" y="1269"/>
                  </a:lnTo>
                  <a:lnTo>
                    <a:pt x="1701" y="4576"/>
                  </a:lnTo>
                  <a:lnTo>
                    <a:pt x="1701" y="3442"/>
                  </a:lnTo>
                  <a:lnTo>
                    <a:pt x="5008" y="135"/>
                  </a:lnTo>
                  <a:close/>
                  <a:moveTo>
                    <a:pt x="1512" y="4630"/>
                  </a:moveTo>
                  <a:lnTo>
                    <a:pt x="0" y="4630"/>
                  </a:lnTo>
                  <a:lnTo>
                    <a:pt x="0" y="3496"/>
                  </a:lnTo>
                  <a:lnTo>
                    <a:pt x="1512" y="3496"/>
                  </a:lnTo>
                  <a:lnTo>
                    <a:pt x="1512" y="463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Right Arrow 90"/>
            <p:cNvSpPr/>
            <p:nvPr/>
          </p:nvSpPr>
          <p:spPr bwMode="gray">
            <a:xfrm rot="757864">
              <a:off x="5282336" y="4403824"/>
              <a:ext cx="149190" cy="116515"/>
            </a:xfrm>
            <a:prstGeom prst="rightArrow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</p:grpSp>
      <p:sp>
        <p:nvSpPr>
          <p:cNvPr id="92" name="Freeform 29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8271022" y="4139501"/>
            <a:ext cx="290054" cy="270277"/>
          </a:xfrm>
          <a:custGeom>
            <a:avLst/>
            <a:gdLst>
              <a:gd name="T0" fmla="*/ 1021 w 1925"/>
              <a:gd name="T1" fmla="*/ 956 h 1792"/>
              <a:gd name="T2" fmla="*/ 790 w 1925"/>
              <a:gd name="T3" fmla="*/ 956 h 1792"/>
              <a:gd name="T4" fmla="*/ 760 w 1925"/>
              <a:gd name="T5" fmla="*/ 433 h 1792"/>
              <a:gd name="T6" fmla="*/ 875 w 1925"/>
              <a:gd name="T7" fmla="*/ 372 h 1792"/>
              <a:gd name="T8" fmla="*/ 936 w 1925"/>
              <a:gd name="T9" fmla="*/ 487 h 1792"/>
              <a:gd name="T10" fmla="*/ 1021 w 1925"/>
              <a:gd name="T11" fmla="*/ 956 h 1792"/>
              <a:gd name="T12" fmla="*/ 1082 w 1925"/>
              <a:gd name="T13" fmla="*/ 259 h 1792"/>
              <a:gd name="T14" fmla="*/ 1082 w 1925"/>
              <a:gd name="T15" fmla="*/ 259 h 1792"/>
              <a:gd name="T16" fmla="*/ 1341 w 1925"/>
              <a:gd name="T17" fmla="*/ 518 h 1792"/>
              <a:gd name="T18" fmla="*/ 1599 w 1925"/>
              <a:gd name="T19" fmla="*/ 259 h 1792"/>
              <a:gd name="T20" fmla="*/ 1341 w 1925"/>
              <a:gd name="T21" fmla="*/ 0 h 1792"/>
              <a:gd name="T22" fmla="*/ 1082 w 1925"/>
              <a:gd name="T23" fmla="*/ 259 h 1792"/>
              <a:gd name="T24" fmla="*/ 1277 w 1925"/>
              <a:gd name="T25" fmla="*/ 1792 h 1792"/>
              <a:gd name="T26" fmla="*/ 1277 w 1925"/>
              <a:gd name="T27" fmla="*/ 1792 h 1792"/>
              <a:gd name="T28" fmla="*/ 1277 w 1925"/>
              <a:gd name="T29" fmla="*/ 1791 h 1792"/>
              <a:gd name="T30" fmla="*/ 1432 w 1925"/>
              <a:gd name="T31" fmla="*/ 1159 h 1792"/>
              <a:gd name="T32" fmla="*/ 1406 w 1925"/>
              <a:gd name="T33" fmla="*/ 1036 h 1792"/>
              <a:gd name="T34" fmla="*/ 1293 w 1925"/>
              <a:gd name="T35" fmla="*/ 981 h 1792"/>
              <a:gd name="T36" fmla="*/ 775 w 1925"/>
              <a:gd name="T37" fmla="*/ 981 h 1792"/>
              <a:gd name="T38" fmla="*/ 736 w 1925"/>
              <a:gd name="T39" fmla="*/ 425 h 1792"/>
              <a:gd name="T40" fmla="*/ 848 w 1925"/>
              <a:gd name="T41" fmla="*/ 342 h 1792"/>
              <a:gd name="T42" fmla="*/ 882 w 1925"/>
              <a:gd name="T43" fmla="*/ 348 h 1792"/>
              <a:gd name="T44" fmla="*/ 960 w 1925"/>
              <a:gd name="T45" fmla="*/ 494 h 1792"/>
              <a:gd name="T46" fmla="*/ 936 w 1925"/>
              <a:gd name="T47" fmla="*/ 709 h 1792"/>
              <a:gd name="T48" fmla="*/ 1002 w 1925"/>
              <a:gd name="T49" fmla="*/ 555 h 1792"/>
              <a:gd name="T50" fmla="*/ 952 w 1925"/>
              <a:gd name="T51" fmla="*/ 263 h 1792"/>
              <a:gd name="T52" fmla="*/ 620 w 1925"/>
              <a:gd name="T53" fmla="*/ 395 h 1792"/>
              <a:gd name="T54" fmla="*/ 426 w 1925"/>
              <a:gd name="T55" fmla="*/ 1006 h 1792"/>
              <a:gd name="T56" fmla="*/ 647 w 1925"/>
              <a:gd name="T57" fmla="*/ 1260 h 1792"/>
              <a:gd name="T58" fmla="*/ 724 w 1925"/>
              <a:gd name="T59" fmla="*/ 1269 h 1792"/>
              <a:gd name="T60" fmla="*/ 724 w 1925"/>
              <a:gd name="T61" fmla="*/ 1269 h 1792"/>
              <a:gd name="T62" fmla="*/ 766 w 1925"/>
              <a:gd name="T63" fmla="*/ 1269 h 1792"/>
              <a:gd name="T64" fmla="*/ 1110 w 1925"/>
              <a:gd name="T65" fmla="*/ 1269 h 1792"/>
              <a:gd name="T66" fmla="*/ 987 w 1925"/>
              <a:gd name="T67" fmla="*/ 1768 h 1792"/>
              <a:gd name="T68" fmla="*/ 984 w 1925"/>
              <a:gd name="T69" fmla="*/ 1787 h 1792"/>
              <a:gd name="T70" fmla="*/ 983 w 1925"/>
              <a:gd name="T71" fmla="*/ 1787 h 1792"/>
              <a:gd name="T72" fmla="*/ 983 w 1925"/>
              <a:gd name="T73" fmla="*/ 1792 h 1792"/>
              <a:gd name="T74" fmla="*/ 842 w 1925"/>
              <a:gd name="T75" fmla="*/ 1792 h 1792"/>
              <a:gd name="T76" fmla="*/ 884 w 1925"/>
              <a:gd name="T77" fmla="*/ 1591 h 1792"/>
              <a:gd name="T78" fmla="*/ 1018 w 1925"/>
              <a:gd name="T79" fmla="*/ 1537 h 1792"/>
              <a:gd name="T80" fmla="*/ 1075 w 1925"/>
              <a:gd name="T81" fmla="*/ 1304 h 1792"/>
              <a:gd name="T82" fmla="*/ 400 w 1925"/>
              <a:gd name="T83" fmla="*/ 1304 h 1792"/>
              <a:gd name="T84" fmla="*/ 334 w 1925"/>
              <a:gd name="T85" fmla="*/ 1238 h 1792"/>
              <a:gd name="T86" fmla="*/ 334 w 1925"/>
              <a:gd name="T87" fmla="*/ 939 h 1792"/>
              <a:gd name="T88" fmla="*/ 271 w 1925"/>
              <a:gd name="T89" fmla="*/ 876 h 1792"/>
              <a:gd name="T90" fmla="*/ 0 w 1925"/>
              <a:gd name="T91" fmla="*/ 877 h 1792"/>
              <a:gd name="T92" fmla="*/ 0 w 1925"/>
              <a:gd name="T93" fmla="*/ 1792 h 1792"/>
              <a:gd name="T94" fmla="*/ 1925 w 1925"/>
              <a:gd name="T95" fmla="*/ 1792 h 1792"/>
              <a:gd name="T96" fmla="*/ 1925 w 1925"/>
              <a:gd name="T97" fmla="*/ 1792 h 1792"/>
              <a:gd name="T98" fmla="*/ 1277 w 1925"/>
              <a:gd name="T99" fmla="*/ 1792 h 1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25" h="1792">
                <a:moveTo>
                  <a:pt x="1021" y="956"/>
                </a:moveTo>
                <a:lnTo>
                  <a:pt x="790" y="956"/>
                </a:lnTo>
                <a:cubicBezTo>
                  <a:pt x="699" y="779"/>
                  <a:pt x="721" y="559"/>
                  <a:pt x="760" y="433"/>
                </a:cubicBezTo>
                <a:cubicBezTo>
                  <a:pt x="775" y="384"/>
                  <a:pt x="826" y="357"/>
                  <a:pt x="875" y="372"/>
                </a:cubicBezTo>
                <a:cubicBezTo>
                  <a:pt x="923" y="387"/>
                  <a:pt x="950" y="438"/>
                  <a:pt x="936" y="487"/>
                </a:cubicBezTo>
                <a:cubicBezTo>
                  <a:pt x="931" y="501"/>
                  <a:pt x="843" y="804"/>
                  <a:pt x="1021" y="956"/>
                </a:cubicBezTo>
                <a:close/>
                <a:moveTo>
                  <a:pt x="1082" y="259"/>
                </a:moveTo>
                <a:lnTo>
                  <a:pt x="1082" y="259"/>
                </a:lnTo>
                <a:cubicBezTo>
                  <a:pt x="1082" y="402"/>
                  <a:pt x="1198" y="518"/>
                  <a:pt x="1341" y="518"/>
                </a:cubicBezTo>
                <a:cubicBezTo>
                  <a:pt x="1483" y="518"/>
                  <a:pt x="1599" y="402"/>
                  <a:pt x="1599" y="259"/>
                </a:cubicBezTo>
                <a:cubicBezTo>
                  <a:pt x="1599" y="116"/>
                  <a:pt x="1483" y="0"/>
                  <a:pt x="1341" y="0"/>
                </a:cubicBezTo>
                <a:cubicBezTo>
                  <a:pt x="1198" y="0"/>
                  <a:pt x="1082" y="116"/>
                  <a:pt x="1082" y="259"/>
                </a:cubicBezTo>
                <a:close/>
                <a:moveTo>
                  <a:pt x="1277" y="1792"/>
                </a:moveTo>
                <a:lnTo>
                  <a:pt x="1277" y="1792"/>
                </a:lnTo>
                <a:lnTo>
                  <a:pt x="1277" y="1791"/>
                </a:lnTo>
                <a:lnTo>
                  <a:pt x="1432" y="1159"/>
                </a:lnTo>
                <a:cubicBezTo>
                  <a:pt x="1443" y="1116"/>
                  <a:pt x="1433" y="1071"/>
                  <a:pt x="1406" y="1036"/>
                </a:cubicBezTo>
                <a:cubicBezTo>
                  <a:pt x="1378" y="1001"/>
                  <a:pt x="1337" y="981"/>
                  <a:pt x="1293" y="981"/>
                </a:cubicBezTo>
                <a:lnTo>
                  <a:pt x="775" y="981"/>
                </a:lnTo>
                <a:cubicBezTo>
                  <a:pt x="672" y="795"/>
                  <a:pt x="694" y="560"/>
                  <a:pt x="736" y="425"/>
                </a:cubicBezTo>
                <a:cubicBezTo>
                  <a:pt x="751" y="376"/>
                  <a:pt x="796" y="342"/>
                  <a:pt x="848" y="342"/>
                </a:cubicBezTo>
                <a:cubicBezTo>
                  <a:pt x="859" y="342"/>
                  <a:pt x="871" y="344"/>
                  <a:pt x="882" y="348"/>
                </a:cubicBezTo>
                <a:cubicBezTo>
                  <a:pt x="944" y="367"/>
                  <a:pt x="979" y="432"/>
                  <a:pt x="960" y="494"/>
                </a:cubicBezTo>
                <a:cubicBezTo>
                  <a:pt x="957" y="502"/>
                  <a:pt x="929" y="600"/>
                  <a:pt x="936" y="709"/>
                </a:cubicBezTo>
                <a:cubicBezTo>
                  <a:pt x="959" y="653"/>
                  <a:pt x="982" y="601"/>
                  <a:pt x="1002" y="555"/>
                </a:cubicBezTo>
                <a:cubicBezTo>
                  <a:pt x="1057" y="450"/>
                  <a:pt x="1043" y="307"/>
                  <a:pt x="952" y="263"/>
                </a:cubicBezTo>
                <a:cubicBezTo>
                  <a:pt x="861" y="218"/>
                  <a:pt x="712" y="242"/>
                  <a:pt x="620" y="395"/>
                </a:cubicBezTo>
                <a:cubicBezTo>
                  <a:pt x="496" y="606"/>
                  <a:pt x="449" y="750"/>
                  <a:pt x="426" y="1006"/>
                </a:cubicBezTo>
                <a:cubicBezTo>
                  <a:pt x="423" y="1195"/>
                  <a:pt x="543" y="1239"/>
                  <a:pt x="647" y="1260"/>
                </a:cubicBezTo>
                <a:cubicBezTo>
                  <a:pt x="677" y="1266"/>
                  <a:pt x="702" y="1270"/>
                  <a:pt x="724" y="1269"/>
                </a:cubicBezTo>
                <a:cubicBezTo>
                  <a:pt x="724" y="1269"/>
                  <a:pt x="724" y="1269"/>
                  <a:pt x="724" y="1269"/>
                </a:cubicBezTo>
                <a:lnTo>
                  <a:pt x="766" y="1269"/>
                </a:lnTo>
                <a:lnTo>
                  <a:pt x="1110" y="1269"/>
                </a:lnTo>
                <a:lnTo>
                  <a:pt x="987" y="1768"/>
                </a:lnTo>
                <a:cubicBezTo>
                  <a:pt x="985" y="1775"/>
                  <a:pt x="985" y="1781"/>
                  <a:pt x="984" y="1787"/>
                </a:cubicBezTo>
                <a:lnTo>
                  <a:pt x="983" y="1787"/>
                </a:lnTo>
                <a:lnTo>
                  <a:pt x="983" y="1792"/>
                </a:lnTo>
                <a:lnTo>
                  <a:pt x="842" y="1792"/>
                </a:lnTo>
                <a:lnTo>
                  <a:pt x="884" y="1591"/>
                </a:lnTo>
                <a:cubicBezTo>
                  <a:pt x="884" y="1591"/>
                  <a:pt x="956" y="1579"/>
                  <a:pt x="1018" y="1537"/>
                </a:cubicBezTo>
                <a:lnTo>
                  <a:pt x="1075" y="1304"/>
                </a:lnTo>
                <a:lnTo>
                  <a:pt x="400" y="1304"/>
                </a:lnTo>
                <a:cubicBezTo>
                  <a:pt x="400" y="1304"/>
                  <a:pt x="334" y="1289"/>
                  <a:pt x="334" y="1238"/>
                </a:cubicBezTo>
                <a:lnTo>
                  <a:pt x="334" y="939"/>
                </a:lnTo>
                <a:cubicBezTo>
                  <a:pt x="334" y="904"/>
                  <a:pt x="306" y="876"/>
                  <a:pt x="271" y="876"/>
                </a:cubicBezTo>
                <a:cubicBezTo>
                  <a:pt x="271" y="876"/>
                  <a:pt x="1" y="877"/>
                  <a:pt x="0" y="877"/>
                </a:cubicBezTo>
                <a:lnTo>
                  <a:pt x="0" y="1792"/>
                </a:lnTo>
                <a:lnTo>
                  <a:pt x="1925" y="1792"/>
                </a:lnTo>
                <a:lnTo>
                  <a:pt x="1925" y="1792"/>
                </a:lnTo>
                <a:lnTo>
                  <a:pt x="1277" y="1792"/>
                </a:lnTo>
                <a:close/>
              </a:path>
            </a:pathLst>
          </a:custGeom>
          <a:solidFill>
            <a:srgbClr val="14151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3" name="Freeform 17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8266111" y="4533979"/>
            <a:ext cx="239413" cy="230155"/>
          </a:xfrm>
          <a:custGeom>
            <a:avLst/>
            <a:gdLst>
              <a:gd name="T0" fmla="*/ 1040 w 2080"/>
              <a:gd name="T1" fmla="*/ 2000 h 2000"/>
              <a:gd name="T2" fmla="*/ 480 w 2080"/>
              <a:gd name="T3" fmla="*/ 1825 h 2000"/>
              <a:gd name="T4" fmla="*/ 574 w 2080"/>
              <a:gd name="T5" fmla="*/ 1591 h 2000"/>
              <a:gd name="T6" fmla="*/ 809 w 2080"/>
              <a:gd name="T7" fmla="*/ 1485 h 2000"/>
              <a:gd name="T8" fmla="*/ 820 w 2080"/>
              <a:gd name="T9" fmla="*/ 1401 h 2000"/>
              <a:gd name="T10" fmla="*/ 756 w 2080"/>
              <a:gd name="T11" fmla="*/ 1232 h 2000"/>
              <a:gd name="T12" fmla="*/ 697 w 2080"/>
              <a:gd name="T13" fmla="*/ 1067 h 2000"/>
              <a:gd name="T14" fmla="*/ 698 w 2080"/>
              <a:gd name="T15" fmla="*/ 810 h 2000"/>
              <a:gd name="T16" fmla="*/ 1076 w 2080"/>
              <a:gd name="T17" fmla="*/ 622 h 2000"/>
              <a:gd name="T18" fmla="*/ 1382 w 2080"/>
              <a:gd name="T19" fmla="*/ 1067 h 2000"/>
              <a:gd name="T20" fmla="*/ 1323 w 2080"/>
              <a:gd name="T21" fmla="*/ 1233 h 2000"/>
              <a:gd name="T22" fmla="*/ 1260 w 2080"/>
              <a:gd name="T23" fmla="*/ 1406 h 2000"/>
              <a:gd name="T24" fmla="*/ 1269 w 2080"/>
              <a:gd name="T25" fmla="*/ 1484 h 2000"/>
              <a:gd name="T26" fmla="*/ 1505 w 2080"/>
              <a:gd name="T27" fmla="*/ 1591 h 2000"/>
              <a:gd name="T28" fmla="*/ 1600 w 2080"/>
              <a:gd name="T29" fmla="*/ 1825 h 2000"/>
              <a:gd name="T30" fmla="*/ 745 w 2080"/>
              <a:gd name="T31" fmla="*/ 334 h 2000"/>
              <a:gd name="T32" fmla="*/ 798 w 2080"/>
              <a:gd name="T33" fmla="*/ 130 h 2000"/>
              <a:gd name="T34" fmla="*/ 1281 w 2080"/>
              <a:gd name="T35" fmla="*/ 130 h 2000"/>
              <a:gd name="T36" fmla="*/ 1334 w 2080"/>
              <a:gd name="T37" fmla="*/ 339 h 2000"/>
              <a:gd name="T38" fmla="*/ 1188 w 2080"/>
              <a:gd name="T39" fmla="*/ 551 h 2000"/>
              <a:gd name="T40" fmla="*/ 1080 w 2080"/>
              <a:gd name="T41" fmla="*/ 542 h 2000"/>
              <a:gd name="T42" fmla="*/ 841 w 2080"/>
              <a:gd name="T43" fmla="*/ 428 h 2000"/>
              <a:gd name="T44" fmla="*/ 1264 w 2080"/>
              <a:gd name="T45" fmla="*/ 588 h 2000"/>
              <a:gd name="T46" fmla="*/ 1358 w 2080"/>
              <a:gd name="T47" fmla="*/ 418 h 2000"/>
              <a:gd name="T48" fmla="*/ 1574 w 2080"/>
              <a:gd name="T49" fmla="*/ 369 h 2000"/>
              <a:gd name="T50" fmla="*/ 1647 w 2080"/>
              <a:gd name="T51" fmla="*/ 395 h 2000"/>
              <a:gd name="T52" fmla="*/ 1809 w 2080"/>
              <a:gd name="T53" fmla="*/ 429 h 2000"/>
              <a:gd name="T54" fmla="*/ 1896 w 2080"/>
              <a:gd name="T55" fmla="*/ 606 h 2000"/>
              <a:gd name="T56" fmla="*/ 1835 w 2080"/>
              <a:gd name="T57" fmla="*/ 893 h 2000"/>
              <a:gd name="T58" fmla="*/ 1758 w 2080"/>
              <a:gd name="T59" fmla="*/ 1046 h 2000"/>
              <a:gd name="T60" fmla="*/ 1784 w 2080"/>
              <a:gd name="T61" fmla="*/ 1135 h 2000"/>
              <a:gd name="T62" fmla="*/ 1852 w 2080"/>
              <a:gd name="T63" fmla="*/ 1163 h 2000"/>
              <a:gd name="T64" fmla="*/ 2057 w 2080"/>
              <a:gd name="T65" fmla="*/ 1325 h 2000"/>
              <a:gd name="T66" fmla="*/ 1928 w 2080"/>
              <a:gd name="T67" fmla="*/ 1563 h 2000"/>
              <a:gd name="T68" fmla="*/ 1561 w 2080"/>
              <a:gd name="T69" fmla="*/ 1533 h 2000"/>
              <a:gd name="T70" fmla="*/ 1326 w 2080"/>
              <a:gd name="T71" fmla="*/ 1425 h 2000"/>
              <a:gd name="T72" fmla="*/ 1464 w 2080"/>
              <a:gd name="T73" fmla="*/ 1069 h 2000"/>
              <a:gd name="T74" fmla="*/ 1264 w 2080"/>
              <a:gd name="T75" fmla="*/ 588 h 2000"/>
              <a:gd name="T76" fmla="*/ 500 w 2080"/>
              <a:gd name="T77" fmla="*/ 389 h 2000"/>
              <a:gd name="T78" fmla="*/ 774 w 2080"/>
              <a:gd name="T79" fmla="*/ 472 h 2000"/>
              <a:gd name="T80" fmla="*/ 623 w 2080"/>
              <a:gd name="T81" fmla="*/ 782 h 2000"/>
              <a:gd name="T82" fmla="*/ 616 w 2080"/>
              <a:gd name="T83" fmla="*/ 1070 h 2000"/>
              <a:gd name="T84" fmla="*/ 753 w 2080"/>
              <a:gd name="T85" fmla="*/ 1425 h 2000"/>
              <a:gd name="T86" fmla="*/ 518 w 2080"/>
              <a:gd name="T87" fmla="*/ 1533 h 2000"/>
              <a:gd name="T88" fmla="*/ 152 w 2080"/>
              <a:gd name="T89" fmla="*/ 1563 h 2000"/>
              <a:gd name="T90" fmla="*/ 22 w 2080"/>
              <a:gd name="T91" fmla="*/ 1325 h 2000"/>
              <a:gd name="T92" fmla="*/ 227 w 2080"/>
              <a:gd name="T93" fmla="*/ 1163 h 2000"/>
              <a:gd name="T94" fmla="*/ 122 w 2080"/>
              <a:gd name="T95" fmla="*/ 1053 h 2000"/>
              <a:gd name="T96" fmla="*/ 123 w 2080"/>
              <a:gd name="T97" fmla="*/ 1007 h 2000"/>
              <a:gd name="T98" fmla="*/ 184 w 2080"/>
              <a:gd name="T99" fmla="*/ 621 h 2000"/>
              <a:gd name="T100" fmla="*/ 433 w 2080"/>
              <a:gd name="T101" fmla="*/ 372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80" h="2000">
                <a:moveTo>
                  <a:pt x="1432" y="1959"/>
                </a:moveTo>
                <a:cubicBezTo>
                  <a:pt x="1310" y="1990"/>
                  <a:pt x="1140" y="2000"/>
                  <a:pt x="1040" y="2000"/>
                </a:cubicBezTo>
                <a:cubicBezTo>
                  <a:pt x="940" y="2000"/>
                  <a:pt x="770" y="1990"/>
                  <a:pt x="648" y="1959"/>
                </a:cubicBezTo>
                <a:cubicBezTo>
                  <a:pt x="550" y="1933"/>
                  <a:pt x="480" y="1891"/>
                  <a:pt x="480" y="1825"/>
                </a:cubicBezTo>
                <a:cubicBezTo>
                  <a:pt x="480" y="1783"/>
                  <a:pt x="488" y="1738"/>
                  <a:pt x="505" y="1696"/>
                </a:cubicBezTo>
                <a:cubicBezTo>
                  <a:pt x="520" y="1657"/>
                  <a:pt x="544" y="1620"/>
                  <a:pt x="574" y="1591"/>
                </a:cubicBezTo>
                <a:cubicBezTo>
                  <a:pt x="610" y="1556"/>
                  <a:pt x="683" y="1532"/>
                  <a:pt x="733" y="1517"/>
                </a:cubicBezTo>
                <a:cubicBezTo>
                  <a:pt x="759" y="1509"/>
                  <a:pt x="782" y="1502"/>
                  <a:pt x="809" y="1485"/>
                </a:cubicBezTo>
                <a:cubicBezTo>
                  <a:pt x="810" y="1485"/>
                  <a:pt x="811" y="1484"/>
                  <a:pt x="812" y="1483"/>
                </a:cubicBezTo>
                <a:cubicBezTo>
                  <a:pt x="826" y="1476"/>
                  <a:pt x="822" y="1435"/>
                  <a:pt x="820" y="1401"/>
                </a:cubicBezTo>
                <a:cubicBezTo>
                  <a:pt x="819" y="1393"/>
                  <a:pt x="818" y="1385"/>
                  <a:pt x="818" y="1378"/>
                </a:cubicBezTo>
                <a:cubicBezTo>
                  <a:pt x="783" y="1336"/>
                  <a:pt x="769" y="1283"/>
                  <a:pt x="756" y="1232"/>
                </a:cubicBezTo>
                <a:cubicBezTo>
                  <a:pt x="755" y="1229"/>
                  <a:pt x="755" y="1229"/>
                  <a:pt x="755" y="1229"/>
                </a:cubicBezTo>
                <a:cubicBezTo>
                  <a:pt x="704" y="1194"/>
                  <a:pt x="684" y="1126"/>
                  <a:pt x="697" y="1067"/>
                </a:cubicBezTo>
                <a:cubicBezTo>
                  <a:pt x="692" y="1047"/>
                  <a:pt x="688" y="1025"/>
                  <a:pt x="685" y="1005"/>
                </a:cubicBezTo>
                <a:cubicBezTo>
                  <a:pt x="675" y="937"/>
                  <a:pt x="676" y="868"/>
                  <a:pt x="698" y="810"/>
                </a:cubicBezTo>
                <a:cubicBezTo>
                  <a:pt x="727" y="733"/>
                  <a:pt x="786" y="689"/>
                  <a:pt x="865" y="675"/>
                </a:cubicBezTo>
                <a:cubicBezTo>
                  <a:pt x="914" y="634"/>
                  <a:pt x="995" y="617"/>
                  <a:pt x="1076" y="622"/>
                </a:cubicBezTo>
                <a:cubicBezTo>
                  <a:pt x="1231" y="631"/>
                  <a:pt x="1356" y="713"/>
                  <a:pt x="1389" y="869"/>
                </a:cubicBezTo>
                <a:cubicBezTo>
                  <a:pt x="1402" y="926"/>
                  <a:pt x="1400" y="991"/>
                  <a:pt x="1382" y="1067"/>
                </a:cubicBezTo>
                <a:cubicBezTo>
                  <a:pt x="1395" y="1127"/>
                  <a:pt x="1376" y="1194"/>
                  <a:pt x="1324" y="1229"/>
                </a:cubicBezTo>
                <a:cubicBezTo>
                  <a:pt x="1323" y="1233"/>
                  <a:pt x="1323" y="1233"/>
                  <a:pt x="1323" y="1233"/>
                </a:cubicBezTo>
                <a:cubicBezTo>
                  <a:pt x="1310" y="1283"/>
                  <a:pt x="1297" y="1336"/>
                  <a:pt x="1261" y="1378"/>
                </a:cubicBezTo>
                <a:cubicBezTo>
                  <a:pt x="1261" y="1387"/>
                  <a:pt x="1260" y="1397"/>
                  <a:pt x="1260" y="1406"/>
                </a:cubicBezTo>
                <a:cubicBezTo>
                  <a:pt x="1257" y="1438"/>
                  <a:pt x="1254" y="1475"/>
                  <a:pt x="1266" y="1483"/>
                </a:cubicBezTo>
                <a:cubicBezTo>
                  <a:pt x="1267" y="1483"/>
                  <a:pt x="1268" y="1484"/>
                  <a:pt x="1269" y="1484"/>
                </a:cubicBezTo>
                <a:cubicBezTo>
                  <a:pt x="1297" y="1502"/>
                  <a:pt x="1320" y="1509"/>
                  <a:pt x="1346" y="1517"/>
                </a:cubicBezTo>
                <a:cubicBezTo>
                  <a:pt x="1397" y="1532"/>
                  <a:pt x="1470" y="1556"/>
                  <a:pt x="1505" y="1591"/>
                </a:cubicBezTo>
                <a:cubicBezTo>
                  <a:pt x="1536" y="1620"/>
                  <a:pt x="1559" y="1657"/>
                  <a:pt x="1574" y="1696"/>
                </a:cubicBezTo>
                <a:cubicBezTo>
                  <a:pt x="1591" y="1738"/>
                  <a:pt x="1600" y="1783"/>
                  <a:pt x="1600" y="1825"/>
                </a:cubicBezTo>
                <a:cubicBezTo>
                  <a:pt x="1600" y="1891"/>
                  <a:pt x="1529" y="1933"/>
                  <a:pt x="1432" y="1959"/>
                </a:cubicBezTo>
                <a:close/>
                <a:moveTo>
                  <a:pt x="745" y="334"/>
                </a:moveTo>
                <a:cubicBezTo>
                  <a:pt x="745" y="328"/>
                  <a:pt x="745" y="321"/>
                  <a:pt x="745" y="315"/>
                </a:cubicBezTo>
                <a:cubicBezTo>
                  <a:pt x="745" y="256"/>
                  <a:pt x="762" y="188"/>
                  <a:pt x="798" y="130"/>
                </a:cubicBezTo>
                <a:cubicBezTo>
                  <a:pt x="854" y="44"/>
                  <a:pt x="939" y="0"/>
                  <a:pt x="1040" y="0"/>
                </a:cubicBezTo>
                <a:cubicBezTo>
                  <a:pt x="1140" y="0"/>
                  <a:pt x="1226" y="44"/>
                  <a:pt x="1281" y="130"/>
                </a:cubicBezTo>
                <a:cubicBezTo>
                  <a:pt x="1318" y="188"/>
                  <a:pt x="1334" y="256"/>
                  <a:pt x="1334" y="315"/>
                </a:cubicBezTo>
                <a:cubicBezTo>
                  <a:pt x="1334" y="323"/>
                  <a:pt x="1334" y="331"/>
                  <a:pt x="1334" y="339"/>
                </a:cubicBezTo>
                <a:cubicBezTo>
                  <a:pt x="1326" y="343"/>
                  <a:pt x="1318" y="348"/>
                  <a:pt x="1312" y="353"/>
                </a:cubicBezTo>
                <a:cubicBezTo>
                  <a:pt x="1248" y="399"/>
                  <a:pt x="1202" y="467"/>
                  <a:pt x="1188" y="551"/>
                </a:cubicBezTo>
                <a:cubicBezTo>
                  <a:pt x="1187" y="554"/>
                  <a:pt x="1187" y="557"/>
                  <a:pt x="1186" y="560"/>
                </a:cubicBezTo>
                <a:cubicBezTo>
                  <a:pt x="1152" y="550"/>
                  <a:pt x="1116" y="544"/>
                  <a:pt x="1080" y="542"/>
                </a:cubicBezTo>
                <a:cubicBezTo>
                  <a:pt x="1016" y="538"/>
                  <a:pt x="950" y="547"/>
                  <a:pt x="894" y="568"/>
                </a:cubicBezTo>
                <a:cubicBezTo>
                  <a:pt x="888" y="518"/>
                  <a:pt x="869" y="469"/>
                  <a:pt x="841" y="428"/>
                </a:cubicBezTo>
                <a:cubicBezTo>
                  <a:pt x="816" y="391"/>
                  <a:pt x="783" y="358"/>
                  <a:pt x="745" y="334"/>
                </a:cubicBezTo>
                <a:close/>
                <a:moveTo>
                  <a:pt x="1264" y="588"/>
                </a:moveTo>
                <a:cubicBezTo>
                  <a:pt x="1264" y="580"/>
                  <a:pt x="1265" y="572"/>
                  <a:pt x="1266" y="564"/>
                </a:cubicBezTo>
                <a:cubicBezTo>
                  <a:pt x="1277" y="502"/>
                  <a:pt x="1311" y="452"/>
                  <a:pt x="1358" y="418"/>
                </a:cubicBezTo>
                <a:cubicBezTo>
                  <a:pt x="1404" y="385"/>
                  <a:pt x="1462" y="367"/>
                  <a:pt x="1521" y="366"/>
                </a:cubicBezTo>
                <a:cubicBezTo>
                  <a:pt x="1539" y="365"/>
                  <a:pt x="1557" y="367"/>
                  <a:pt x="1574" y="369"/>
                </a:cubicBezTo>
                <a:cubicBezTo>
                  <a:pt x="1594" y="373"/>
                  <a:pt x="1610" y="377"/>
                  <a:pt x="1624" y="383"/>
                </a:cubicBezTo>
                <a:cubicBezTo>
                  <a:pt x="1632" y="387"/>
                  <a:pt x="1639" y="391"/>
                  <a:pt x="1647" y="395"/>
                </a:cubicBezTo>
                <a:cubicBezTo>
                  <a:pt x="1668" y="389"/>
                  <a:pt x="1688" y="387"/>
                  <a:pt x="1709" y="389"/>
                </a:cubicBezTo>
                <a:cubicBezTo>
                  <a:pt x="1745" y="392"/>
                  <a:pt x="1780" y="407"/>
                  <a:pt x="1809" y="429"/>
                </a:cubicBezTo>
                <a:cubicBezTo>
                  <a:pt x="1837" y="451"/>
                  <a:pt x="1861" y="480"/>
                  <a:pt x="1876" y="512"/>
                </a:cubicBezTo>
                <a:cubicBezTo>
                  <a:pt x="1891" y="541"/>
                  <a:pt x="1898" y="574"/>
                  <a:pt x="1896" y="606"/>
                </a:cubicBezTo>
                <a:cubicBezTo>
                  <a:pt x="1887" y="744"/>
                  <a:pt x="1887" y="744"/>
                  <a:pt x="1887" y="744"/>
                </a:cubicBezTo>
                <a:cubicBezTo>
                  <a:pt x="1900" y="798"/>
                  <a:pt x="1882" y="861"/>
                  <a:pt x="1835" y="893"/>
                </a:cubicBezTo>
                <a:cubicBezTo>
                  <a:pt x="1827" y="920"/>
                  <a:pt x="1814" y="952"/>
                  <a:pt x="1799" y="982"/>
                </a:cubicBezTo>
                <a:cubicBezTo>
                  <a:pt x="1787" y="1005"/>
                  <a:pt x="1773" y="1028"/>
                  <a:pt x="1758" y="1046"/>
                </a:cubicBezTo>
                <a:cubicBezTo>
                  <a:pt x="1759" y="1063"/>
                  <a:pt x="1760" y="1081"/>
                  <a:pt x="1764" y="1099"/>
                </a:cubicBezTo>
                <a:cubicBezTo>
                  <a:pt x="1768" y="1115"/>
                  <a:pt x="1774" y="1129"/>
                  <a:pt x="1784" y="1135"/>
                </a:cubicBezTo>
                <a:cubicBezTo>
                  <a:pt x="1785" y="1135"/>
                  <a:pt x="1785" y="1135"/>
                  <a:pt x="1785" y="1135"/>
                </a:cubicBezTo>
                <a:cubicBezTo>
                  <a:pt x="1809" y="1151"/>
                  <a:pt x="1829" y="1157"/>
                  <a:pt x="1852" y="1163"/>
                </a:cubicBezTo>
                <a:cubicBezTo>
                  <a:pt x="1898" y="1177"/>
                  <a:pt x="1962" y="1199"/>
                  <a:pt x="1995" y="1230"/>
                </a:cubicBezTo>
                <a:cubicBezTo>
                  <a:pt x="2022" y="1256"/>
                  <a:pt x="2043" y="1289"/>
                  <a:pt x="2057" y="1325"/>
                </a:cubicBezTo>
                <a:cubicBezTo>
                  <a:pt x="2072" y="1363"/>
                  <a:pt x="2080" y="1403"/>
                  <a:pt x="2080" y="1441"/>
                </a:cubicBezTo>
                <a:cubicBezTo>
                  <a:pt x="2080" y="1502"/>
                  <a:pt x="2016" y="1540"/>
                  <a:pt x="1928" y="1563"/>
                </a:cubicBezTo>
                <a:cubicBezTo>
                  <a:pt x="1832" y="1588"/>
                  <a:pt x="1704" y="1598"/>
                  <a:pt x="1614" y="1600"/>
                </a:cubicBezTo>
                <a:cubicBezTo>
                  <a:pt x="1599" y="1576"/>
                  <a:pt x="1581" y="1553"/>
                  <a:pt x="1561" y="1533"/>
                </a:cubicBezTo>
                <a:cubicBezTo>
                  <a:pt x="1513" y="1487"/>
                  <a:pt x="1434" y="1460"/>
                  <a:pt x="1369" y="1440"/>
                </a:cubicBezTo>
                <a:cubicBezTo>
                  <a:pt x="1354" y="1435"/>
                  <a:pt x="1340" y="1431"/>
                  <a:pt x="1326" y="1425"/>
                </a:cubicBezTo>
                <a:cubicBezTo>
                  <a:pt x="1363" y="1379"/>
                  <a:pt x="1379" y="1335"/>
                  <a:pt x="1395" y="1274"/>
                </a:cubicBezTo>
                <a:cubicBezTo>
                  <a:pt x="1450" y="1222"/>
                  <a:pt x="1474" y="1144"/>
                  <a:pt x="1464" y="1069"/>
                </a:cubicBezTo>
                <a:cubicBezTo>
                  <a:pt x="1481" y="988"/>
                  <a:pt x="1482" y="916"/>
                  <a:pt x="1468" y="851"/>
                </a:cubicBezTo>
                <a:cubicBezTo>
                  <a:pt x="1442" y="736"/>
                  <a:pt x="1370" y="639"/>
                  <a:pt x="1264" y="588"/>
                </a:cubicBezTo>
                <a:close/>
                <a:moveTo>
                  <a:pt x="433" y="372"/>
                </a:moveTo>
                <a:cubicBezTo>
                  <a:pt x="455" y="374"/>
                  <a:pt x="478" y="380"/>
                  <a:pt x="500" y="389"/>
                </a:cubicBezTo>
                <a:cubicBezTo>
                  <a:pt x="522" y="380"/>
                  <a:pt x="544" y="374"/>
                  <a:pt x="566" y="372"/>
                </a:cubicBezTo>
                <a:cubicBezTo>
                  <a:pt x="652" y="363"/>
                  <a:pt x="726" y="401"/>
                  <a:pt x="774" y="472"/>
                </a:cubicBezTo>
                <a:cubicBezTo>
                  <a:pt x="801" y="511"/>
                  <a:pt x="816" y="558"/>
                  <a:pt x="816" y="605"/>
                </a:cubicBezTo>
                <a:cubicBezTo>
                  <a:pt x="714" y="634"/>
                  <a:pt x="655" y="699"/>
                  <a:pt x="623" y="782"/>
                </a:cubicBezTo>
                <a:cubicBezTo>
                  <a:pt x="596" y="854"/>
                  <a:pt x="594" y="937"/>
                  <a:pt x="606" y="1016"/>
                </a:cubicBezTo>
                <a:cubicBezTo>
                  <a:pt x="608" y="1034"/>
                  <a:pt x="612" y="1052"/>
                  <a:pt x="616" y="1070"/>
                </a:cubicBezTo>
                <a:cubicBezTo>
                  <a:pt x="606" y="1144"/>
                  <a:pt x="629" y="1222"/>
                  <a:pt x="684" y="1274"/>
                </a:cubicBezTo>
                <a:cubicBezTo>
                  <a:pt x="698" y="1325"/>
                  <a:pt x="715" y="1378"/>
                  <a:pt x="753" y="1425"/>
                </a:cubicBezTo>
                <a:cubicBezTo>
                  <a:pt x="739" y="1431"/>
                  <a:pt x="726" y="1435"/>
                  <a:pt x="710" y="1440"/>
                </a:cubicBezTo>
                <a:cubicBezTo>
                  <a:pt x="645" y="1460"/>
                  <a:pt x="566" y="1487"/>
                  <a:pt x="518" y="1533"/>
                </a:cubicBezTo>
                <a:cubicBezTo>
                  <a:pt x="498" y="1553"/>
                  <a:pt x="480" y="1575"/>
                  <a:pt x="465" y="1599"/>
                </a:cubicBezTo>
                <a:cubicBezTo>
                  <a:pt x="375" y="1597"/>
                  <a:pt x="247" y="1588"/>
                  <a:pt x="152" y="1563"/>
                </a:cubicBezTo>
                <a:cubicBezTo>
                  <a:pt x="64" y="1540"/>
                  <a:pt x="0" y="1502"/>
                  <a:pt x="0" y="1440"/>
                </a:cubicBezTo>
                <a:cubicBezTo>
                  <a:pt x="0" y="1402"/>
                  <a:pt x="7" y="1362"/>
                  <a:pt x="22" y="1325"/>
                </a:cubicBezTo>
                <a:cubicBezTo>
                  <a:pt x="36" y="1289"/>
                  <a:pt x="57" y="1256"/>
                  <a:pt x="84" y="1230"/>
                </a:cubicBezTo>
                <a:cubicBezTo>
                  <a:pt x="116" y="1199"/>
                  <a:pt x="182" y="1177"/>
                  <a:pt x="227" y="1163"/>
                </a:cubicBezTo>
                <a:cubicBezTo>
                  <a:pt x="249" y="1157"/>
                  <a:pt x="267" y="1151"/>
                  <a:pt x="290" y="1138"/>
                </a:cubicBezTo>
                <a:cubicBezTo>
                  <a:pt x="228" y="1133"/>
                  <a:pt x="163" y="1115"/>
                  <a:pt x="122" y="1053"/>
                </a:cubicBezTo>
                <a:cubicBezTo>
                  <a:pt x="106" y="1030"/>
                  <a:pt x="106" y="1030"/>
                  <a:pt x="106" y="1030"/>
                </a:cubicBezTo>
                <a:cubicBezTo>
                  <a:pt x="123" y="1007"/>
                  <a:pt x="123" y="1007"/>
                  <a:pt x="123" y="1007"/>
                </a:cubicBezTo>
                <a:cubicBezTo>
                  <a:pt x="146" y="977"/>
                  <a:pt x="161" y="922"/>
                  <a:pt x="171" y="862"/>
                </a:cubicBezTo>
                <a:cubicBezTo>
                  <a:pt x="187" y="766"/>
                  <a:pt x="188" y="662"/>
                  <a:pt x="184" y="621"/>
                </a:cubicBezTo>
                <a:cubicBezTo>
                  <a:pt x="179" y="569"/>
                  <a:pt x="195" y="516"/>
                  <a:pt x="225" y="472"/>
                </a:cubicBezTo>
                <a:cubicBezTo>
                  <a:pt x="272" y="401"/>
                  <a:pt x="347" y="363"/>
                  <a:pt x="433" y="37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 bwMode="gray">
          <a:xfrm>
            <a:off x="9134705" y="6398219"/>
            <a:ext cx="14536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gnificant verschillend van de totale steekproef</a:t>
            </a:r>
          </a:p>
        </p:txBody>
      </p:sp>
      <p:sp>
        <p:nvSpPr>
          <p:cNvPr id="51" name="Freeform 50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7701616" y="5480134"/>
            <a:ext cx="322305" cy="224413"/>
          </a:xfrm>
          <a:custGeom>
            <a:avLst/>
            <a:gdLst>
              <a:gd name="T0" fmla="*/ 1034 w 2068"/>
              <a:gd name="T1" fmla="*/ 0 h 1440"/>
              <a:gd name="T2" fmla="*/ 2065 w 2068"/>
              <a:gd name="T3" fmla="*/ 706 h 1440"/>
              <a:gd name="T4" fmla="*/ 2065 w 2068"/>
              <a:gd name="T5" fmla="*/ 734 h 1440"/>
              <a:gd name="T6" fmla="*/ 1034 w 2068"/>
              <a:gd name="T7" fmla="*/ 1440 h 1440"/>
              <a:gd name="T8" fmla="*/ 3 w 2068"/>
              <a:gd name="T9" fmla="*/ 734 h 1440"/>
              <a:gd name="T10" fmla="*/ 3 w 2068"/>
              <a:gd name="T11" fmla="*/ 706 h 1440"/>
              <a:gd name="T12" fmla="*/ 1034 w 2068"/>
              <a:gd name="T13" fmla="*/ 0 h 1440"/>
              <a:gd name="T14" fmla="*/ 1034 w 2068"/>
              <a:gd name="T15" fmla="*/ 160 h 1440"/>
              <a:gd name="T16" fmla="*/ 474 w 2068"/>
              <a:gd name="T17" fmla="*/ 720 h 1440"/>
              <a:gd name="T18" fmla="*/ 1034 w 2068"/>
              <a:gd name="T19" fmla="*/ 1280 h 1440"/>
              <a:gd name="T20" fmla="*/ 1594 w 2068"/>
              <a:gd name="T21" fmla="*/ 720 h 1440"/>
              <a:gd name="T22" fmla="*/ 1034 w 2068"/>
              <a:gd name="T23" fmla="*/ 160 h 1440"/>
              <a:gd name="T24" fmla="*/ 1322 w 2068"/>
              <a:gd name="T25" fmla="*/ 336 h 1440"/>
              <a:gd name="T26" fmla="*/ 686 w 2068"/>
              <a:gd name="T27" fmla="*/ 1051 h 1440"/>
              <a:gd name="T28" fmla="*/ 554 w 2068"/>
              <a:gd name="T29" fmla="*/ 720 h 1440"/>
              <a:gd name="T30" fmla="*/ 1034 w 2068"/>
              <a:gd name="T31" fmla="*/ 240 h 1440"/>
              <a:gd name="T32" fmla="*/ 1322 w 2068"/>
              <a:gd name="T33" fmla="*/ 336 h 1440"/>
              <a:gd name="T34" fmla="*/ 1514 w 2068"/>
              <a:gd name="T35" fmla="*/ 720 h 1440"/>
              <a:gd name="T36" fmla="*/ 1382 w 2068"/>
              <a:gd name="T37" fmla="*/ 389 h 1440"/>
              <a:gd name="T38" fmla="*/ 746 w 2068"/>
              <a:gd name="T39" fmla="*/ 1104 h 1440"/>
              <a:gd name="T40" fmla="*/ 1034 w 2068"/>
              <a:gd name="T41" fmla="*/ 1200 h 1440"/>
              <a:gd name="T42" fmla="*/ 1514 w 2068"/>
              <a:gd name="T43" fmla="*/ 7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68" h="1440">
                <a:moveTo>
                  <a:pt x="1034" y="0"/>
                </a:moveTo>
                <a:cubicBezTo>
                  <a:pt x="1464" y="0"/>
                  <a:pt x="1910" y="303"/>
                  <a:pt x="2065" y="706"/>
                </a:cubicBezTo>
                <a:cubicBezTo>
                  <a:pt x="2068" y="715"/>
                  <a:pt x="2068" y="725"/>
                  <a:pt x="2065" y="734"/>
                </a:cubicBezTo>
                <a:cubicBezTo>
                  <a:pt x="1910" y="1137"/>
                  <a:pt x="1465" y="1440"/>
                  <a:pt x="1034" y="1440"/>
                </a:cubicBezTo>
                <a:cubicBezTo>
                  <a:pt x="603" y="1440"/>
                  <a:pt x="158" y="1137"/>
                  <a:pt x="3" y="734"/>
                </a:cubicBezTo>
                <a:cubicBezTo>
                  <a:pt x="0" y="725"/>
                  <a:pt x="0" y="715"/>
                  <a:pt x="3" y="706"/>
                </a:cubicBezTo>
                <a:cubicBezTo>
                  <a:pt x="158" y="303"/>
                  <a:pt x="604" y="0"/>
                  <a:pt x="1034" y="0"/>
                </a:cubicBezTo>
                <a:close/>
                <a:moveTo>
                  <a:pt x="1034" y="160"/>
                </a:moveTo>
                <a:cubicBezTo>
                  <a:pt x="725" y="160"/>
                  <a:pt x="474" y="411"/>
                  <a:pt x="474" y="720"/>
                </a:cubicBezTo>
                <a:cubicBezTo>
                  <a:pt x="474" y="1029"/>
                  <a:pt x="725" y="1280"/>
                  <a:pt x="1034" y="1280"/>
                </a:cubicBezTo>
                <a:cubicBezTo>
                  <a:pt x="1343" y="1280"/>
                  <a:pt x="1594" y="1029"/>
                  <a:pt x="1594" y="720"/>
                </a:cubicBezTo>
                <a:cubicBezTo>
                  <a:pt x="1594" y="411"/>
                  <a:pt x="1343" y="160"/>
                  <a:pt x="1034" y="160"/>
                </a:cubicBezTo>
                <a:close/>
                <a:moveTo>
                  <a:pt x="1322" y="336"/>
                </a:moveTo>
                <a:cubicBezTo>
                  <a:pt x="686" y="1051"/>
                  <a:pt x="686" y="1051"/>
                  <a:pt x="686" y="1051"/>
                </a:cubicBezTo>
                <a:cubicBezTo>
                  <a:pt x="604" y="965"/>
                  <a:pt x="554" y="848"/>
                  <a:pt x="554" y="720"/>
                </a:cubicBezTo>
                <a:cubicBezTo>
                  <a:pt x="554" y="455"/>
                  <a:pt x="769" y="240"/>
                  <a:pt x="1034" y="240"/>
                </a:cubicBezTo>
                <a:cubicBezTo>
                  <a:pt x="1142" y="240"/>
                  <a:pt x="1242" y="276"/>
                  <a:pt x="1322" y="336"/>
                </a:cubicBezTo>
                <a:close/>
                <a:moveTo>
                  <a:pt x="1514" y="720"/>
                </a:moveTo>
                <a:cubicBezTo>
                  <a:pt x="1514" y="592"/>
                  <a:pt x="1464" y="475"/>
                  <a:pt x="1382" y="389"/>
                </a:cubicBezTo>
                <a:cubicBezTo>
                  <a:pt x="746" y="1104"/>
                  <a:pt x="746" y="1104"/>
                  <a:pt x="746" y="1104"/>
                </a:cubicBezTo>
                <a:cubicBezTo>
                  <a:pt x="826" y="1164"/>
                  <a:pt x="926" y="1200"/>
                  <a:pt x="1034" y="1200"/>
                </a:cubicBezTo>
                <a:cubicBezTo>
                  <a:pt x="1299" y="1200"/>
                  <a:pt x="1514" y="985"/>
                  <a:pt x="1514" y="7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2" name="Chevron 51"/>
          <p:cNvSpPr/>
          <p:nvPr/>
        </p:nvSpPr>
        <p:spPr bwMode="gray">
          <a:xfrm>
            <a:off x="6243130" y="3885990"/>
            <a:ext cx="1232050" cy="459548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3" name="Chevron 52"/>
          <p:cNvSpPr/>
          <p:nvPr/>
        </p:nvSpPr>
        <p:spPr bwMode="gray">
          <a:xfrm>
            <a:off x="6290731" y="2361802"/>
            <a:ext cx="1232050" cy="459548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4" name="Chevron 53"/>
          <p:cNvSpPr/>
          <p:nvPr/>
        </p:nvSpPr>
        <p:spPr bwMode="gray">
          <a:xfrm>
            <a:off x="6252845" y="5422148"/>
            <a:ext cx="1232050" cy="459548"/>
          </a:xfrm>
          <a:prstGeom prst="chevron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7988247" y="3594502"/>
            <a:ext cx="2788941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lijk gedrag dat in de afgelopen </a:t>
            </a:r>
            <a:b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 het vaakst voorkwam</a:t>
            </a:r>
          </a:p>
        </p:txBody>
      </p:sp>
    </p:spTree>
    <p:extLst>
      <p:ext uri="{BB962C8B-B14F-4D97-AF65-F5344CB8AC3E}">
        <p14:creationId xmlns:p14="http://schemas.microsoft.com/office/powerpoint/2010/main" val="23227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screen">
            <a:alphaModFix amt="48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 Verbindung 311"/>
          <p:cNvCxnSpPr/>
          <p:nvPr/>
        </p:nvCxnSpPr>
        <p:spPr bwMode="gray">
          <a:xfrm>
            <a:off x="0" y="4373195"/>
            <a:ext cx="12227131" cy="0"/>
          </a:xfrm>
          <a:prstGeom prst="line">
            <a:avLst/>
          </a:prstGeom>
          <a:noFill/>
          <a:ln w="2857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 bwMode="gray">
          <a:xfrm>
            <a:off x="1406739" y="2255279"/>
            <a:ext cx="4179096" cy="4235832"/>
          </a:xfrm>
          <a:prstGeom prst="ellipse">
            <a:avLst/>
          </a:prstGeom>
          <a:solidFill>
            <a:schemeClr val="bg1"/>
          </a:solidFill>
          <a:ln w="38100" cmpd="sng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nl-BE" sz="2800" b="1" dirty="0">
                <a:solidFill>
                  <a:srgbClr val="E55A00"/>
                </a:solidFill>
                <a:latin typeface="Calibri" panose="020F0502020204030204" pitchFamily="34" charset="0"/>
              </a:rPr>
              <a:t>Onvoorzichtig gedrag in de buurt van een overweg</a:t>
            </a:r>
          </a:p>
          <a:p>
            <a:pPr algn="ctr" fontAlgn="auto">
              <a:spcBef>
                <a:spcPts val="0"/>
              </a:spcBef>
              <a:spcAft>
                <a:spcPts val="800"/>
              </a:spcAft>
              <a:defRPr/>
            </a:pPr>
            <a:endParaRPr lang="nl-BE" sz="100" b="1" dirty="0">
              <a:solidFill>
                <a:srgbClr val="E55A00"/>
              </a:solidFill>
              <a:latin typeface="Calibri" panose="020F0502020204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nl-BE" b="1" dirty="0">
                <a:solidFill>
                  <a:srgbClr val="E55A00"/>
                </a:solidFill>
                <a:latin typeface="Calibri" panose="020F0502020204030204" pitchFamily="34" charset="0"/>
              </a:rPr>
              <a:t>= gedragingen zoals met anderen praten tijdens het oversteken van een overweg, een overweg oversteken als zicht of geluid beperkt is, ... </a:t>
            </a:r>
          </a:p>
        </p:txBody>
      </p:sp>
      <p:sp>
        <p:nvSpPr>
          <p:cNvPr id="8" name="Oval 7"/>
          <p:cNvSpPr/>
          <p:nvPr/>
        </p:nvSpPr>
        <p:spPr bwMode="gray">
          <a:xfrm>
            <a:off x="7974253" y="2781974"/>
            <a:ext cx="3139816" cy="3182443"/>
          </a:xfrm>
          <a:prstGeom prst="ellipse">
            <a:avLst/>
          </a:prstGeom>
          <a:solidFill>
            <a:schemeClr val="tx2"/>
          </a:solidFill>
          <a:ln w="38100" cmpd="sng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</a:rPr>
              <a:t>46% </a:t>
            </a:r>
          </a:p>
          <a:p>
            <a:pPr algn="ctr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nl-BE" b="1" dirty="0">
                <a:solidFill>
                  <a:srgbClr val="FFFFFF"/>
                </a:solidFill>
                <a:latin typeface="Calibri" panose="020F0502020204030204" pitchFamily="34" charset="0"/>
              </a:rPr>
              <a:t>van de Belgische bevolking heeft minstens één van deze gedragingen gesteld in de afgelopen </a:t>
            </a:r>
            <a:br>
              <a:rPr lang="nl-BE" b="1" dirty="0">
                <a:solidFill>
                  <a:srgbClr val="FFFFFF"/>
                </a:solidFill>
                <a:latin typeface="Calibri" panose="020F0502020204030204" pitchFamily="34" charset="0"/>
              </a:rPr>
            </a:br>
            <a:r>
              <a:rPr lang="nl-BE" b="1" dirty="0">
                <a:solidFill>
                  <a:srgbClr val="FFFFFF"/>
                </a:solidFill>
                <a:latin typeface="Calibri" panose="020F0502020204030204" pitchFamily="34" charset="0"/>
              </a:rPr>
              <a:t>6 maanden</a:t>
            </a:r>
          </a:p>
        </p:txBody>
      </p:sp>
    </p:spTree>
    <p:extLst>
      <p:ext uri="{BB962C8B-B14F-4D97-AF65-F5344CB8AC3E}">
        <p14:creationId xmlns:p14="http://schemas.microsoft.com/office/powerpoint/2010/main" val="4573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25" cstate="screen"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8933" y="750950"/>
            <a:ext cx="1980000" cy="1980000"/>
          </a:xfrm>
          <a:prstGeom prst="ellipse">
            <a:avLst/>
          </a:prstGeom>
        </p:spPr>
      </p:pic>
      <p:sp>
        <p:nvSpPr>
          <p:cNvPr id="61" name="Oval 60"/>
          <p:cNvSpPr/>
          <p:nvPr/>
        </p:nvSpPr>
        <p:spPr bwMode="gray">
          <a:xfrm>
            <a:off x="1612454" y="747359"/>
            <a:ext cx="2042330" cy="2051636"/>
          </a:xfrm>
          <a:prstGeom prst="ellipse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27" cstate="screen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67761" y="4391322"/>
            <a:ext cx="1980000" cy="1980000"/>
          </a:xfrm>
          <a:prstGeom prst="ellipse">
            <a:avLst/>
          </a:prstGeom>
        </p:spPr>
      </p:pic>
      <p:sp>
        <p:nvSpPr>
          <p:cNvPr id="59" name="Oval 58"/>
          <p:cNvSpPr/>
          <p:nvPr/>
        </p:nvSpPr>
        <p:spPr bwMode="gray">
          <a:xfrm>
            <a:off x="7264152" y="4386897"/>
            <a:ext cx="1980000" cy="1980000"/>
          </a:xfrm>
          <a:prstGeom prst="ellipse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9" cstate="screen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89576" y="953706"/>
            <a:ext cx="1980000" cy="1980000"/>
          </a:xfrm>
          <a:prstGeom prst="ellipse">
            <a:avLst/>
          </a:prstGeom>
        </p:spPr>
      </p:pic>
      <p:sp>
        <p:nvSpPr>
          <p:cNvPr id="54" name="Oval 53"/>
          <p:cNvSpPr/>
          <p:nvPr/>
        </p:nvSpPr>
        <p:spPr bwMode="gray">
          <a:xfrm>
            <a:off x="4990241" y="945649"/>
            <a:ext cx="1980000" cy="1980000"/>
          </a:xfrm>
          <a:prstGeom prst="ellipse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1" cstate="screen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0437" r="14924"/>
          <a:stretch/>
        </p:blipFill>
        <p:spPr>
          <a:xfrm>
            <a:off x="8066143" y="2044064"/>
            <a:ext cx="1980000" cy="1980000"/>
          </a:xfrm>
          <a:prstGeom prst="ellipse">
            <a:avLst/>
          </a:prstGeom>
        </p:spPr>
      </p:pic>
      <p:sp>
        <p:nvSpPr>
          <p:cNvPr id="52" name="Oval 51"/>
          <p:cNvSpPr/>
          <p:nvPr/>
        </p:nvSpPr>
        <p:spPr bwMode="gray">
          <a:xfrm>
            <a:off x="8068240" y="2070292"/>
            <a:ext cx="1980000" cy="1980000"/>
          </a:xfrm>
          <a:prstGeom prst="ellipse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4" name="Gruppieren 33"/>
          <p:cNvGrpSpPr/>
          <p:nvPr>
            <p:custDataLst>
              <p:tags r:id="rId2"/>
            </p:custDataLst>
          </p:nvPr>
        </p:nvGrpSpPr>
        <p:grpSpPr bwMode="gray">
          <a:xfrm>
            <a:off x="4432738" y="332489"/>
            <a:ext cx="3095005" cy="3095005"/>
            <a:chOff x="65602" y="330501"/>
            <a:chExt cx="2321254" cy="2321254"/>
          </a:xfrm>
          <a:noFill/>
        </p:grpSpPr>
        <p:sp>
          <p:nvSpPr>
            <p:cNvPr id="14" name="Ellipse 13"/>
            <p:cNvSpPr/>
            <p:nvPr>
              <p:custDataLst>
                <p:tags r:id="rId21"/>
              </p:custDataLst>
            </p:nvPr>
          </p:nvSpPr>
          <p:spPr bwMode="gray">
            <a:xfrm>
              <a:off x="483729" y="790371"/>
              <a:ext cx="1485000" cy="1485000"/>
            </a:xfrm>
            <a:prstGeom prst="ellipse">
              <a:avLst/>
            </a:prstGeom>
            <a:grpFill/>
            <a:ln w="9525">
              <a:solidFill>
                <a:srgbClr val="F0A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133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Ellipse 30"/>
            <p:cNvSpPr/>
            <p:nvPr>
              <p:custDataLst>
                <p:tags r:id="rId22"/>
              </p:custDataLst>
            </p:nvPr>
          </p:nvSpPr>
          <p:spPr bwMode="gray">
            <a:xfrm>
              <a:off x="65602" y="330501"/>
              <a:ext cx="2321254" cy="2321254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21920" tIns="60960" rIns="121920" bIns="60960" numCol="1" spcCol="0" rtlCol="0" fromWordArt="0" anchor="ctr" anchorCtr="0" forceAA="0" compatLnSpc="1">
              <a:prstTxWarp prst="textArchUp">
                <a:avLst>
                  <a:gd name="adj" fmla="val 10762146"/>
                </a:avLst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nl-BE" sz="1867" b="1" dirty="0" err="1" smtClean="0">
                  <a:solidFill>
                    <a:srgbClr val="F0AB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Unconscious</a:t>
              </a:r>
              <a:r>
                <a:rPr lang="nl-BE" sz="1867" b="1" dirty="0" smtClean="0">
                  <a:solidFill>
                    <a:srgbClr val="F0AB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crossers</a:t>
              </a:r>
              <a:endParaRPr lang="nl-BE" sz="1867" b="1" dirty="0">
                <a:solidFill>
                  <a:srgbClr val="F0AB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2" name="think-cell Folie" r:id="rId33" imgW="270" imgH="270" progId="TCLayout.ActiveDocument.1">
                  <p:embed/>
                </p:oleObj>
              </mc:Choice>
              <mc:Fallback>
                <p:oleObj name="think-cell Folie" r:id="rId33" imgW="270" imgH="270" progId="TCLayout.ActiveDocument.1">
                  <p:embed/>
                  <p:pic>
                    <p:nvPicPr>
                      <p:cNvPr id="15" name="Objekt 14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ihandform 10"/>
          <p:cNvSpPr/>
          <p:nvPr>
            <p:custDataLst>
              <p:tags r:id="rId4"/>
            </p:custDataLst>
          </p:nvPr>
        </p:nvSpPr>
        <p:spPr bwMode="gray">
          <a:xfrm flipH="1">
            <a:off x="-288710" y="4341101"/>
            <a:ext cx="2112235" cy="192000"/>
          </a:xfrm>
          <a:custGeom>
            <a:avLst/>
            <a:gdLst>
              <a:gd name="connsiteX0" fmla="*/ 0 w 849086"/>
              <a:gd name="connsiteY0" fmla="*/ 117566 h 117566"/>
              <a:gd name="connsiteX1" fmla="*/ 731520 w 849086"/>
              <a:gd name="connsiteY1" fmla="*/ 117566 h 117566"/>
              <a:gd name="connsiteX2" fmla="*/ 849086 w 849086"/>
              <a:gd name="connsiteY2" fmla="*/ 0 h 11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49086" h="117566">
                <a:moveTo>
                  <a:pt x="0" y="117566"/>
                </a:moveTo>
                <a:lnTo>
                  <a:pt x="731520" y="117566"/>
                </a:lnTo>
                <a:lnTo>
                  <a:pt x="849086" y="0"/>
                </a:lnTo>
              </a:path>
            </a:pathLst>
          </a:custGeom>
          <a:noFill/>
          <a:ln w="28575" cap="rnd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Ellipse 11"/>
          <p:cNvSpPr/>
          <p:nvPr>
            <p:custDataLst>
              <p:tags r:id="rId5"/>
            </p:custDataLst>
          </p:nvPr>
        </p:nvSpPr>
        <p:spPr bwMode="gray">
          <a:xfrm flipH="1">
            <a:off x="1890567" y="3093178"/>
            <a:ext cx="2832100" cy="28321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336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auto">
              <a:spcBef>
                <a:spcPts val="400"/>
              </a:spcBef>
              <a:spcAft>
                <a:spcPts val="0"/>
              </a:spcAft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5" name="Gruppieren 34"/>
          <p:cNvGrpSpPr/>
          <p:nvPr>
            <p:custDataLst>
              <p:tags r:id="rId6"/>
            </p:custDataLst>
          </p:nvPr>
        </p:nvGrpSpPr>
        <p:grpSpPr bwMode="gray">
          <a:xfrm>
            <a:off x="747281" y="-17362"/>
            <a:ext cx="3683301" cy="4223303"/>
            <a:chOff x="2296065" y="465124"/>
            <a:chExt cx="1465571" cy="1680436"/>
          </a:xfrm>
          <a:noFill/>
        </p:grpSpPr>
        <p:sp>
          <p:nvSpPr>
            <p:cNvPr id="24" name="Ellipse 23"/>
            <p:cNvSpPr/>
            <p:nvPr>
              <p:custDataLst>
                <p:tags r:id="rId19"/>
              </p:custDataLst>
            </p:nvPr>
          </p:nvSpPr>
          <p:spPr bwMode="gray">
            <a:xfrm>
              <a:off x="2634934" y="770118"/>
              <a:ext cx="787834" cy="787834"/>
            </a:xfrm>
            <a:prstGeom prst="ellipse">
              <a:avLst/>
            </a:prstGeom>
            <a:grp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133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" name="Ellipse 28"/>
            <p:cNvSpPr/>
            <p:nvPr>
              <p:custDataLst>
                <p:tags r:id="rId20"/>
              </p:custDataLst>
            </p:nvPr>
          </p:nvSpPr>
          <p:spPr bwMode="gray">
            <a:xfrm>
              <a:off x="2296065" y="465124"/>
              <a:ext cx="1465571" cy="1680436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21920" tIns="60960" rIns="121920" bIns="60960" numCol="1" spcCol="0" rtlCol="0" fromWordArt="0" anchor="ctr" anchorCtr="0" forceAA="0" compatLnSpc="1">
              <a:prstTxWarp prst="textArchUp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nl-BE" sz="1867" b="1" dirty="0" smtClean="0">
                  <a:solidFill>
                    <a:srgbClr val="C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ngerous </a:t>
              </a:r>
              <a:r>
                <a:rPr lang="nl-BE" sz="1867" b="1" dirty="0" err="1" smtClean="0">
                  <a:solidFill>
                    <a:srgbClr val="C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ers</a:t>
              </a:r>
              <a:endParaRPr lang="nl-BE" sz="1867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 bwMode="gray">
          <a:xfrm>
            <a:off x="7415404" y="1419200"/>
            <a:ext cx="3360000" cy="3312000"/>
            <a:chOff x="3982780" y="3040833"/>
            <a:chExt cx="2520000" cy="2484000"/>
          </a:xfrm>
          <a:noFill/>
        </p:grpSpPr>
        <p:sp>
          <p:nvSpPr>
            <p:cNvPr id="27" name="Ellipse 26"/>
            <p:cNvSpPr/>
            <p:nvPr>
              <p:custDataLst>
                <p:tags r:id="rId17"/>
              </p:custDataLst>
            </p:nvPr>
          </p:nvSpPr>
          <p:spPr bwMode="gray">
            <a:xfrm>
              <a:off x="4472407" y="3507854"/>
              <a:ext cx="1485000" cy="1485000"/>
            </a:xfrm>
            <a:prstGeom prst="ellipse">
              <a:avLst/>
            </a:prstGeom>
            <a:grp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133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Ellipse 29"/>
            <p:cNvSpPr/>
            <p:nvPr>
              <p:custDataLst>
                <p:tags r:id="rId18"/>
              </p:custDataLst>
            </p:nvPr>
          </p:nvSpPr>
          <p:spPr bwMode="gray">
            <a:xfrm>
              <a:off x="3982780" y="3040833"/>
              <a:ext cx="2520000" cy="248400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1" vertOverflow="overflow" horzOverflow="overflow" vert="horz" wrap="square" lIns="121920" tIns="60960" rIns="121920" bIns="60960" numCol="1" spcCol="0" rtlCol="0" fromWordArt="0" anchor="ctr" anchorCtr="0" forceAA="0" compatLnSpc="1">
              <a:prstTxWarp prst="textArchUp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r>
                <a:rPr lang="fr-BE" sz="1867" b="1" dirty="0" err="1">
                  <a:solidFill>
                    <a:srgbClr val="264283"/>
                  </a:solidFill>
                  <a:latin typeface="Calibri" panose="020F0502020204030204" pitchFamily="34" charset="0"/>
                  <a:cs typeface="Arial" pitchFamily="34" charset="0"/>
                </a:rPr>
                <a:t>Opportunistic</a:t>
              </a:r>
              <a:r>
                <a:rPr lang="fr-BE" sz="1867" b="1" dirty="0">
                  <a:solidFill>
                    <a:srgbClr val="264283"/>
                  </a:solidFill>
                  <a:latin typeface="Calibri" panose="020F0502020204030204" pitchFamily="34" charset="0"/>
                  <a:cs typeface="Arial" pitchFamily="34" charset="0"/>
                </a:rPr>
                <a:t> </a:t>
              </a:r>
              <a:r>
                <a:rPr lang="fr-BE" sz="1867" b="1" dirty="0" err="1">
                  <a:solidFill>
                    <a:srgbClr val="264283"/>
                  </a:solidFill>
                  <a:latin typeface="Calibri" panose="020F0502020204030204" pitchFamily="34" charset="0"/>
                  <a:cs typeface="Arial" pitchFamily="34" charset="0"/>
                </a:rPr>
                <a:t>crossers</a:t>
              </a:r>
              <a:endParaRPr lang="fr-BE" sz="1867" b="1" dirty="0">
                <a:solidFill>
                  <a:srgbClr val="264283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</p:grpSp>
      <p:sp>
        <p:nvSpPr>
          <p:cNvPr id="16" name="Freihandform 15"/>
          <p:cNvSpPr/>
          <p:nvPr>
            <p:custDataLst>
              <p:tags r:id="rId7"/>
            </p:custDataLst>
          </p:nvPr>
        </p:nvSpPr>
        <p:spPr bwMode="gray">
          <a:xfrm>
            <a:off x="3026728" y="2695532"/>
            <a:ext cx="92710" cy="397646"/>
          </a:xfrm>
          <a:custGeom>
            <a:avLst/>
            <a:gdLst>
              <a:gd name="connsiteX0" fmla="*/ 110836 w 110836"/>
              <a:gd name="connsiteY0" fmla="*/ 207818 h 207818"/>
              <a:gd name="connsiteX1" fmla="*/ 110836 w 110836"/>
              <a:gd name="connsiteY1" fmla="*/ 110836 h 207818"/>
              <a:gd name="connsiteX2" fmla="*/ 0 w 110836"/>
              <a:gd name="connsiteY2" fmla="*/ 0 h 207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0836" h="207818">
                <a:moveTo>
                  <a:pt x="110836" y="207818"/>
                </a:moveTo>
                <a:lnTo>
                  <a:pt x="110836" y="110836"/>
                </a:lnTo>
                <a:lnTo>
                  <a:pt x="0" y="0"/>
                </a:lnTo>
              </a:path>
            </a:pathLst>
          </a:custGeom>
          <a:noFill/>
          <a:ln w="12700" cap="rnd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Freihandform 19"/>
          <p:cNvSpPr/>
          <p:nvPr>
            <p:custDataLst>
              <p:tags r:id="rId8"/>
            </p:custDataLst>
          </p:nvPr>
        </p:nvSpPr>
        <p:spPr bwMode="gray">
          <a:xfrm>
            <a:off x="4514751" y="5284715"/>
            <a:ext cx="2721340" cy="349147"/>
          </a:xfrm>
          <a:custGeom>
            <a:avLst/>
            <a:gdLst>
              <a:gd name="connsiteX0" fmla="*/ 0 w 1918854"/>
              <a:gd name="connsiteY0" fmla="*/ 0 h 103909"/>
              <a:gd name="connsiteX1" fmla="*/ 103909 w 1918854"/>
              <a:gd name="connsiteY1" fmla="*/ 103909 h 103909"/>
              <a:gd name="connsiteX2" fmla="*/ 1918854 w 1918854"/>
              <a:gd name="connsiteY2" fmla="*/ 103909 h 103909"/>
              <a:gd name="connsiteX0" fmla="*/ 0 w 1918854"/>
              <a:gd name="connsiteY0" fmla="*/ 0 h 103917"/>
              <a:gd name="connsiteX1" fmla="*/ 103909 w 1918854"/>
              <a:gd name="connsiteY1" fmla="*/ 103909 h 103917"/>
              <a:gd name="connsiteX2" fmla="*/ 789337 w 1918854"/>
              <a:gd name="connsiteY2" fmla="*/ 103917 h 103917"/>
              <a:gd name="connsiteX3" fmla="*/ 1918854 w 1918854"/>
              <a:gd name="connsiteY3" fmla="*/ 103909 h 103917"/>
              <a:gd name="connsiteX0" fmla="*/ 0 w 789337"/>
              <a:gd name="connsiteY0" fmla="*/ 0 h 103917"/>
              <a:gd name="connsiteX1" fmla="*/ 103909 w 789337"/>
              <a:gd name="connsiteY1" fmla="*/ 103909 h 103917"/>
              <a:gd name="connsiteX2" fmla="*/ 789337 w 789337"/>
              <a:gd name="connsiteY2" fmla="*/ 103917 h 103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9337" h="103917">
                <a:moveTo>
                  <a:pt x="0" y="0"/>
                </a:moveTo>
                <a:lnTo>
                  <a:pt x="103909" y="103909"/>
                </a:lnTo>
                <a:lnTo>
                  <a:pt x="789337" y="103917"/>
                </a:lnTo>
              </a:path>
            </a:pathLst>
          </a:custGeom>
          <a:noFill/>
          <a:ln w="12700" cap="rnd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Freihandform 22"/>
          <p:cNvSpPr/>
          <p:nvPr>
            <p:custDataLst>
              <p:tags r:id="rId9"/>
            </p:custDataLst>
          </p:nvPr>
        </p:nvSpPr>
        <p:spPr bwMode="gray">
          <a:xfrm>
            <a:off x="4740562" y="3120402"/>
            <a:ext cx="3247878" cy="1132909"/>
          </a:xfrm>
          <a:custGeom>
            <a:avLst/>
            <a:gdLst>
              <a:gd name="connsiteX0" fmla="*/ 0 w 1676400"/>
              <a:gd name="connsiteY0" fmla="*/ 628650 h 628650"/>
              <a:gd name="connsiteX1" fmla="*/ 1119188 w 1676400"/>
              <a:gd name="connsiteY1" fmla="*/ 0 h 628650"/>
              <a:gd name="connsiteX2" fmla="*/ 1676400 w 167640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76400" h="628650">
                <a:moveTo>
                  <a:pt x="0" y="628650"/>
                </a:moveTo>
                <a:lnTo>
                  <a:pt x="1119188" y="0"/>
                </a:lnTo>
                <a:lnTo>
                  <a:pt x="1676400" y="0"/>
                </a:lnTo>
              </a:path>
            </a:pathLst>
          </a:custGeom>
          <a:noFill/>
          <a:ln w="12700" cap="rnd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0" name="Gruppieren 39"/>
          <p:cNvGrpSpPr/>
          <p:nvPr>
            <p:custDataLst>
              <p:tags r:id="rId10"/>
            </p:custDataLst>
          </p:nvPr>
        </p:nvGrpSpPr>
        <p:grpSpPr bwMode="gray">
          <a:xfrm>
            <a:off x="1455684" y="5129117"/>
            <a:ext cx="1368000" cy="1368000"/>
            <a:chOff x="739449" y="3530749"/>
            <a:chExt cx="1356952" cy="1356952"/>
          </a:xfrm>
        </p:grpSpPr>
        <p:sp>
          <p:nvSpPr>
            <p:cNvPr id="48" name="Ellipse 47"/>
            <p:cNvSpPr/>
            <p:nvPr>
              <p:custDataLst>
                <p:tags r:id="rId15"/>
              </p:custDataLst>
            </p:nvPr>
          </p:nvSpPr>
          <p:spPr bwMode="gray">
            <a:xfrm flipH="1">
              <a:off x="739449" y="3530749"/>
              <a:ext cx="1356952" cy="1356952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336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933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Ellipse 48"/>
            <p:cNvSpPr/>
            <p:nvPr>
              <p:custDataLst>
                <p:tags r:id="rId16"/>
              </p:custDataLst>
            </p:nvPr>
          </p:nvSpPr>
          <p:spPr bwMode="gray">
            <a:xfrm flipH="1">
              <a:off x="823959" y="3615259"/>
              <a:ext cx="1187934" cy="1187934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336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400"/>
                </a:spcBef>
                <a:spcAft>
                  <a:spcPts val="0"/>
                </a:spcAft>
                <a:defRPr/>
              </a:pPr>
              <a:endParaRPr lang="en-US" sz="2933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3" name="Ellipse 28"/>
          <p:cNvSpPr/>
          <p:nvPr>
            <p:custDataLst>
              <p:tags r:id="rId11"/>
            </p:custDataLst>
          </p:nvPr>
        </p:nvSpPr>
        <p:spPr bwMode="gray">
          <a:xfrm>
            <a:off x="6696461" y="3834606"/>
            <a:ext cx="3122600" cy="269942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121920" tIns="60960" rIns="121920" bIns="60960" numCol="1" spcCol="0" rtlCol="0" fromWordArt="0" anchor="ctr" anchorCtr="0" forceAA="0" compatLnSpc="1">
            <a:prstTxWarp prst="textArchUp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1867" b="1" dirty="0" smtClean="0">
                <a:solidFill>
                  <a:srgbClr val="A2AD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 </a:t>
            </a:r>
            <a:r>
              <a:rPr lang="nl-BE" sz="1867" b="1" dirty="0" err="1" smtClean="0">
                <a:solidFill>
                  <a:srgbClr val="A2AD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oiders</a:t>
            </a:r>
            <a:endParaRPr lang="nl-BE" sz="1867" b="1" dirty="0">
              <a:solidFill>
                <a:srgbClr val="A2AD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Freihandform 22"/>
          <p:cNvSpPr/>
          <p:nvPr>
            <p:custDataLst>
              <p:tags r:id="rId12"/>
            </p:custDataLst>
          </p:nvPr>
        </p:nvSpPr>
        <p:spPr bwMode="gray">
          <a:xfrm rot="19730609">
            <a:off x="3780235" y="2302848"/>
            <a:ext cx="1469033" cy="595619"/>
          </a:xfrm>
          <a:custGeom>
            <a:avLst/>
            <a:gdLst>
              <a:gd name="connsiteX0" fmla="*/ 0 w 1676400"/>
              <a:gd name="connsiteY0" fmla="*/ 628650 h 628650"/>
              <a:gd name="connsiteX1" fmla="*/ 1119188 w 1676400"/>
              <a:gd name="connsiteY1" fmla="*/ 0 h 628650"/>
              <a:gd name="connsiteX2" fmla="*/ 1676400 w 167640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76400" h="628650">
                <a:moveTo>
                  <a:pt x="0" y="628650"/>
                </a:moveTo>
                <a:lnTo>
                  <a:pt x="1119188" y="0"/>
                </a:lnTo>
                <a:lnTo>
                  <a:pt x="1676400" y="0"/>
                </a:lnTo>
              </a:path>
            </a:pathLst>
          </a:custGeom>
          <a:noFill/>
          <a:ln w="12700" cap="rnd">
            <a:solidFill>
              <a:srgbClr val="F0A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Ellipse 25"/>
          <p:cNvSpPr/>
          <p:nvPr>
            <p:custDataLst>
              <p:tags r:id="rId13"/>
            </p:custDataLst>
          </p:nvPr>
        </p:nvSpPr>
        <p:spPr bwMode="gray">
          <a:xfrm>
            <a:off x="7267761" y="4381234"/>
            <a:ext cx="1980000" cy="1980000"/>
          </a:xfrm>
          <a:prstGeom prst="ellipse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endParaRPr lang="en-US" sz="2133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5557557" y="1647617"/>
            <a:ext cx="833703" cy="576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2667" b="1" dirty="0">
                <a:solidFill>
                  <a:srgbClr val="F0A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r>
              <a:rPr lang="nl-BE" sz="1867" b="1" dirty="0">
                <a:solidFill>
                  <a:srgbClr val="F0AB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39" name="Rectangle 38"/>
          <p:cNvSpPr/>
          <p:nvPr/>
        </p:nvSpPr>
        <p:spPr bwMode="gray">
          <a:xfrm>
            <a:off x="7737885" y="5083202"/>
            <a:ext cx="1039751" cy="576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2667" b="1" dirty="0">
                <a:solidFill>
                  <a:srgbClr val="A2AD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%</a:t>
            </a:r>
          </a:p>
        </p:txBody>
      </p:sp>
      <p:sp>
        <p:nvSpPr>
          <p:cNvPr id="41" name="Rectangle 40"/>
          <p:cNvSpPr/>
          <p:nvPr/>
        </p:nvSpPr>
        <p:spPr bwMode="gray">
          <a:xfrm>
            <a:off x="2091199" y="1451122"/>
            <a:ext cx="1039751" cy="576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2667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%</a:t>
            </a:r>
          </a:p>
        </p:txBody>
      </p:sp>
      <p:sp>
        <p:nvSpPr>
          <p:cNvPr id="42" name="Rectangle 41"/>
          <p:cNvSpPr/>
          <p:nvPr/>
        </p:nvSpPr>
        <p:spPr bwMode="gray">
          <a:xfrm>
            <a:off x="8575528" y="2663769"/>
            <a:ext cx="1039751" cy="5760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2667" b="1" dirty="0" smtClean="0">
                <a:solidFill>
                  <a:srgbClr val="26428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%</a:t>
            </a:r>
            <a:endParaRPr lang="nl-BE" sz="2667" b="1" dirty="0">
              <a:solidFill>
                <a:srgbClr val="26428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1868427" y="5572963"/>
            <a:ext cx="528000" cy="528000"/>
            <a:chOff x="1004134" y="1788049"/>
            <a:chExt cx="1050206" cy="1050207"/>
          </a:xfrm>
          <a:solidFill>
            <a:schemeClr val="bg1"/>
          </a:solidFill>
        </p:grpSpPr>
        <p:sp>
          <p:nvSpPr>
            <p:cNvPr id="45" name="Freeform 6"/>
            <p:cNvSpPr>
              <a:spLocks/>
            </p:cNvSpPr>
            <p:nvPr/>
          </p:nvSpPr>
          <p:spPr bwMode="gray">
            <a:xfrm>
              <a:off x="1526628" y="1788049"/>
              <a:ext cx="527712" cy="801027"/>
            </a:xfrm>
            <a:custGeom>
              <a:avLst/>
              <a:gdLst>
                <a:gd name="T0" fmla="*/ 17 w 1045"/>
                <a:gd name="T1" fmla="*/ 483 h 1587"/>
                <a:gd name="T2" fmla="*/ 5 w 1045"/>
                <a:gd name="T3" fmla="*/ 303 h 1587"/>
                <a:gd name="T4" fmla="*/ 9 w 1045"/>
                <a:gd name="T5" fmla="*/ 250 h 1587"/>
                <a:gd name="T6" fmla="*/ 123 w 1045"/>
                <a:gd name="T7" fmla="*/ 67 h 1587"/>
                <a:gd name="T8" fmla="*/ 329 w 1045"/>
                <a:gd name="T9" fmla="*/ 1 h 1587"/>
                <a:gd name="T10" fmla="*/ 491 w 1045"/>
                <a:gd name="T11" fmla="*/ 41 h 1587"/>
                <a:gd name="T12" fmla="*/ 573 w 1045"/>
                <a:gd name="T13" fmla="*/ 31 h 1587"/>
                <a:gd name="T14" fmla="*/ 696 w 1045"/>
                <a:gd name="T15" fmla="*/ 82 h 1587"/>
                <a:gd name="T16" fmla="*/ 781 w 1045"/>
                <a:gd name="T17" fmla="*/ 185 h 1587"/>
                <a:gd name="T18" fmla="*/ 805 w 1045"/>
                <a:gd name="T19" fmla="*/ 302 h 1587"/>
                <a:gd name="T20" fmla="*/ 793 w 1045"/>
                <a:gd name="T21" fmla="*/ 483 h 1587"/>
                <a:gd name="T22" fmla="*/ 728 w 1045"/>
                <a:gd name="T23" fmla="*/ 670 h 1587"/>
                <a:gd name="T24" fmla="*/ 625 w 1045"/>
                <a:gd name="T25" fmla="*/ 872 h 1587"/>
                <a:gd name="T26" fmla="*/ 634 w 1045"/>
                <a:gd name="T27" fmla="*/ 948 h 1587"/>
                <a:gd name="T28" fmla="*/ 666 w 1045"/>
                <a:gd name="T29" fmla="*/ 1003 h 1587"/>
                <a:gd name="T30" fmla="*/ 757 w 1045"/>
                <a:gd name="T31" fmla="*/ 1041 h 1587"/>
                <a:gd name="T32" fmla="*/ 938 w 1045"/>
                <a:gd name="T33" fmla="*/ 1125 h 1587"/>
                <a:gd name="T34" fmla="*/ 1017 w 1045"/>
                <a:gd name="T35" fmla="*/ 1245 h 1587"/>
                <a:gd name="T36" fmla="*/ 1045 w 1045"/>
                <a:gd name="T37" fmla="*/ 1391 h 1587"/>
                <a:gd name="T38" fmla="*/ 856 w 1045"/>
                <a:gd name="T39" fmla="*/ 1539 h 1587"/>
                <a:gd name="T40" fmla="*/ 405 w 1045"/>
                <a:gd name="T41" fmla="*/ 1587 h 1587"/>
                <a:gd name="T42" fmla="*/ 210 w 1045"/>
                <a:gd name="T43" fmla="*/ 1579 h 1587"/>
                <a:gd name="T44" fmla="*/ 193 w 1045"/>
                <a:gd name="T45" fmla="*/ 1562 h 1587"/>
                <a:gd name="T46" fmla="*/ 81 w 1045"/>
                <a:gd name="T47" fmla="*/ 1494 h 1587"/>
                <a:gd name="T48" fmla="*/ 155 w 1045"/>
                <a:gd name="T49" fmla="*/ 1417 h 1587"/>
                <a:gd name="T50" fmla="*/ 202 w 1045"/>
                <a:gd name="T51" fmla="*/ 1347 h 1587"/>
                <a:gd name="T52" fmla="*/ 151 w 1045"/>
                <a:gd name="T53" fmla="*/ 1279 h 1587"/>
                <a:gd name="T54" fmla="*/ 101 w 1045"/>
                <a:gd name="T55" fmla="*/ 1120 h 1587"/>
                <a:gd name="T56" fmla="*/ 89 w 1045"/>
                <a:gd name="T57" fmla="*/ 1030 h 1587"/>
                <a:gd name="T58" fmla="*/ 143 w 1045"/>
                <a:gd name="T59" fmla="*/ 1004 h 1587"/>
                <a:gd name="T60" fmla="*/ 176 w 1045"/>
                <a:gd name="T61" fmla="*/ 947 h 1587"/>
                <a:gd name="T62" fmla="*/ 185 w 1045"/>
                <a:gd name="T63" fmla="*/ 872 h 1587"/>
                <a:gd name="T64" fmla="*/ 82 w 1045"/>
                <a:gd name="T65" fmla="*/ 670 h 1587"/>
                <a:gd name="T66" fmla="*/ 17 w 1045"/>
                <a:gd name="T67" fmla="*/ 483 h 1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45" h="1587">
                  <a:moveTo>
                    <a:pt x="17" y="483"/>
                  </a:moveTo>
                  <a:cubicBezTo>
                    <a:pt x="13" y="425"/>
                    <a:pt x="6" y="361"/>
                    <a:pt x="5" y="303"/>
                  </a:cubicBezTo>
                  <a:cubicBezTo>
                    <a:pt x="5" y="285"/>
                    <a:pt x="6" y="267"/>
                    <a:pt x="9" y="250"/>
                  </a:cubicBezTo>
                  <a:cubicBezTo>
                    <a:pt x="21" y="172"/>
                    <a:pt x="64" y="110"/>
                    <a:pt x="123" y="67"/>
                  </a:cubicBezTo>
                  <a:cubicBezTo>
                    <a:pt x="181" y="26"/>
                    <a:pt x="254" y="3"/>
                    <a:pt x="329" y="1"/>
                  </a:cubicBezTo>
                  <a:cubicBezTo>
                    <a:pt x="389" y="0"/>
                    <a:pt x="440" y="10"/>
                    <a:pt x="491" y="41"/>
                  </a:cubicBezTo>
                  <a:cubicBezTo>
                    <a:pt x="518" y="32"/>
                    <a:pt x="546" y="29"/>
                    <a:pt x="573" y="31"/>
                  </a:cubicBezTo>
                  <a:cubicBezTo>
                    <a:pt x="617" y="35"/>
                    <a:pt x="660" y="54"/>
                    <a:pt x="696" y="82"/>
                  </a:cubicBezTo>
                  <a:cubicBezTo>
                    <a:pt x="732" y="109"/>
                    <a:pt x="761" y="145"/>
                    <a:pt x="781" y="185"/>
                  </a:cubicBezTo>
                  <a:cubicBezTo>
                    <a:pt x="799" y="222"/>
                    <a:pt x="809" y="263"/>
                    <a:pt x="805" y="302"/>
                  </a:cubicBezTo>
                  <a:cubicBezTo>
                    <a:pt x="793" y="483"/>
                    <a:pt x="793" y="483"/>
                    <a:pt x="793" y="483"/>
                  </a:cubicBezTo>
                  <a:cubicBezTo>
                    <a:pt x="810" y="551"/>
                    <a:pt x="788" y="630"/>
                    <a:pt x="728" y="670"/>
                  </a:cubicBezTo>
                  <a:cubicBezTo>
                    <a:pt x="708" y="736"/>
                    <a:pt x="671" y="819"/>
                    <a:pt x="625" y="872"/>
                  </a:cubicBezTo>
                  <a:cubicBezTo>
                    <a:pt x="626" y="896"/>
                    <a:pt x="628" y="923"/>
                    <a:pt x="634" y="948"/>
                  </a:cubicBezTo>
                  <a:cubicBezTo>
                    <a:pt x="639" y="969"/>
                    <a:pt x="646" y="991"/>
                    <a:pt x="666" y="1003"/>
                  </a:cubicBezTo>
                  <a:cubicBezTo>
                    <a:pt x="700" y="1024"/>
                    <a:pt x="726" y="1032"/>
                    <a:pt x="757" y="1041"/>
                  </a:cubicBezTo>
                  <a:cubicBezTo>
                    <a:pt x="815" y="1059"/>
                    <a:pt x="898" y="1086"/>
                    <a:pt x="938" y="1125"/>
                  </a:cubicBezTo>
                  <a:cubicBezTo>
                    <a:pt x="972" y="1158"/>
                    <a:pt x="999" y="1200"/>
                    <a:pt x="1017" y="1245"/>
                  </a:cubicBezTo>
                  <a:cubicBezTo>
                    <a:pt x="1035" y="1292"/>
                    <a:pt x="1045" y="1343"/>
                    <a:pt x="1045" y="1391"/>
                  </a:cubicBezTo>
                  <a:cubicBezTo>
                    <a:pt x="1045" y="1464"/>
                    <a:pt x="965" y="1511"/>
                    <a:pt x="856" y="1539"/>
                  </a:cubicBezTo>
                  <a:cubicBezTo>
                    <a:pt x="715" y="1576"/>
                    <a:pt x="520" y="1587"/>
                    <a:pt x="405" y="1587"/>
                  </a:cubicBezTo>
                  <a:cubicBezTo>
                    <a:pt x="353" y="1587"/>
                    <a:pt x="283" y="1585"/>
                    <a:pt x="210" y="1579"/>
                  </a:cubicBezTo>
                  <a:cubicBezTo>
                    <a:pt x="205" y="1573"/>
                    <a:pt x="199" y="1567"/>
                    <a:pt x="193" y="1562"/>
                  </a:cubicBezTo>
                  <a:cubicBezTo>
                    <a:pt x="160" y="1529"/>
                    <a:pt x="119" y="1509"/>
                    <a:pt x="81" y="1494"/>
                  </a:cubicBezTo>
                  <a:cubicBezTo>
                    <a:pt x="109" y="1474"/>
                    <a:pt x="134" y="1449"/>
                    <a:pt x="155" y="1417"/>
                  </a:cubicBezTo>
                  <a:cubicBezTo>
                    <a:pt x="202" y="1347"/>
                    <a:pt x="202" y="1347"/>
                    <a:pt x="202" y="1347"/>
                  </a:cubicBezTo>
                  <a:cubicBezTo>
                    <a:pt x="151" y="1279"/>
                    <a:pt x="151" y="1279"/>
                    <a:pt x="151" y="1279"/>
                  </a:cubicBezTo>
                  <a:cubicBezTo>
                    <a:pt x="128" y="1249"/>
                    <a:pt x="112" y="1188"/>
                    <a:pt x="101" y="1120"/>
                  </a:cubicBezTo>
                  <a:cubicBezTo>
                    <a:pt x="96" y="1090"/>
                    <a:pt x="92" y="1059"/>
                    <a:pt x="89" y="1030"/>
                  </a:cubicBezTo>
                  <a:cubicBezTo>
                    <a:pt x="106" y="1024"/>
                    <a:pt x="123" y="1016"/>
                    <a:pt x="143" y="1004"/>
                  </a:cubicBezTo>
                  <a:cubicBezTo>
                    <a:pt x="164" y="990"/>
                    <a:pt x="170" y="971"/>
                    <a:pt x="176" y="947"/>
                  </a:cubicBezTo>
                  <a:cubicBezTo>
                    <a:pt x="180" y="948"/>
                    <a:pt x="185" y="879"/>
                    <a:pt x="185" y="872"/>
                  </a:cubicBezTo>
                  <a:cubicBezTo>
                    <a:pt x="140" y="820"/>
                    <a:pt x="102" y="736"/>
                    <a:pt x="82" y="670"/>
                  </a:cubicBezTo>
                  <a:cubicBezTo>
                    <a:pt x="22" y="630"/>
                    <a:pt x="0" y="551"/>
                    <a:pt x="17" y="4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gray">
            <a:xfrm>
              <a:off x="1004134" y="2035924"/>
              <a:ext cx="646431" cy="802332"/>
            </a:xfrm>
            <a:custGeom>
              <a:avLst/>
              <a:gdLst>
                <a:gd name="T0" fmla="*/ 551 w 1280"/>
                <a:gd name="T1" fmla="*/ 11 h 1589"/>
                <a:gd name="T2" fmla="*/ 640 w 1280"/>
                <a:gd name="T3" fmla="*/ 35 h 1589"/>
                <a:gd name="T4" fmla="*/ 729 w 1280"/>
                <a:gd name="T5" fmla="*/ 11 h 1589"/>
                <a:gd name="T6" fmla="*/ 988 w 1280"/>
                <a:gd name="T7" fmla="*/ 137 h 1589"/>
                <a:gd name="T8" fmla="*/ 1040 w 1280"/>
                <a:gd name="T9" fmla="*/ 323 h 1589"/>
                <a:gd name="T10" fmla="*/ 1057 w 1280"/>
                <a:gd name="T11" fmla="*/ 641 h 1589"/>
                <a:gd name="T12" fmla="*/ 1122 w 1280"/>
                <a:gd name="T13" fmla="*/ 835 h 1589"/>
                <a:gd name="T14" fmla="*/ 1139 w 1280"/>
                <a:gd name="T15" fmla="*/ 858 h 1589"/>
                <a:gd name="T16" fmla="*/ 1123 w 1280"/>
                <a:gd name="T17" fmla="*/ 881 h 1589"/>
                <a:gd name="T18" fmla="*/ 975 w 1280"/>
                <a:gd name="T19" fmla="*/ 977 h 1589"/>
                <a:gd name="T20" fmla="*/ 877 w 1280"/>
                <a:gd name="T21" fmla="*/ 988 h 1589"/>
                <a:gd name="T22" fmla="*/ 900 w 1280"/>
                <a:gd name="T23" fmla="*/ 1004 h 1589"/>
                <a:gd name="T24" fmla="*/ 992 w 1280"/>
                <a:gd name="T25" fmla="*/ 1043 h 1589"/>
                <a:gd name="T26" fmla="*/ 1173 w 1280"/>
                <a:gd name="T27" fmla="*/ 1127 h 1589"/>
                <a:gd name="T28" fmla="*/ 1252 w 1280"/>
                <a:gd name="T29" fmla="*/ 1247 h 1589"/>
                <a:gd name="T30" fmla="*/ 1280 w 1280"/>
                <a:gd name="T31" fmla="*/ 1393 h 1589"/>
                <a:gd name="T32" fmla="*/ 1091 w 1280"/>
                <a:gd name="T33" fmla="*/ 1541 h 1589"/>
                <a:gd name="T34" fmla="*/ 640 w 1280"/>
                <a:gd name="T35" fmla="*/ 1589 h 1589"/>
                <a:gd name="T36" fmla="*/ 189 w 1280"/>
                <a:gd name="T37" fmla="*/ 1541 h 1589"/>
                <a:gd name="T38" fmla="*/ 0 w 1280"/>
                <a:gd name="T39" fmla="*/ 1393 h 1589"/>
                <a:gd name="T40" fmla="*/ 28 w 1280"/>
                <a:gd name="T41" fmla="*/ 1247 h 1589"/>
                <a:gd name="T42" fmla="*/ 107 w 1280"/>
                <a:gd name="T43" fmla="*/ 1127 h 1589"/>
                <a:gd name="T44" fmla="*/ 288 w 1280"/>
                <a:gd name="T45" fmla="*/ 1043 h 1589"/>
                <a:gd name="T46" fmla="*/ 379 w 1280"/>
                <a:gd name="T47" fmla="*/ 1005 h 1589"/>
                <a:gd name="T48" fmla="*/ 380 w 1280"/>
                <a:gd name="T49" fmla="*/ 1004 h 1589"/>
                <a:gd name="T50" fmla="*/ 403 w 1280"/>
                <a:gd name="T51" fmla="*/ 988 h 1589"/>
                <a:gd name="T52" fmla="*/ 157 w 1280"/>
                <a:gd name="T53" fmla="*/ 881 h 1589"/>
                <a:gd name="T54" fmla="*/ 141 w 1280"/>
                <a:gd name="T55" fmla="*/ 858 h 1589"/>
                <a:gd name="T56" fmla="*/ 158 w 1280"/>
                <a:gd name="T57" fmla="*/ 835 h 1589"/>
                <a:gd name="T58" fmla="*/ 223 w 1280"/>
                <a:gd name="T59" fmla="*/ 641 h 1589"/>
                <a:gd name="T60" fmla="*/ 240 w 1280"/>
                <a:gd name="T61" fmla="*/ 323 h 1589"/>
                <a:gd name="T62" fmla="*/ 292 w 1280"/>
                <a:gd name="T63" fmla="*/ 137 h 1589"/>
                <a:gd name="T64" fmla="*/ 551 w 1280"/>
                <a:gd name="T65" fmla="*/ 11 h 1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80" h="1589">
                  <a:moveTo>
                    <a:pt x="551" y="11"/>
                  </a:moveTo>
                  <a:cubicBezTo>
                    <a:pt x="581" y="15"/>
                    <a:pt x="611" y="23"/>
                    <a:pt x="640" y="35"/>
                  </a:cubicBezTo>
                  <a:cubicBezTo>
                    <a:pt x="669" y="23"/>
                    <a:pt x="699" y="15"/>
                    <a:pt x="729" y="11"/>
                  </a:cubicBezTo>
                  <a:cubicBezTo>
                    <a:pt x="837" y="1"/>
                    <a:pt x="927" y="45"/>
                    <a:pt x="988" y="137"/>
                  </a:cubicBezTo>
                  <a:cubicBezTo>
                    <a:pt x="1025" y="192"/>
                    <a:pt x="1046" y="259"/>
                    <a:pt x="1040" y="323"/>
                  </a:cubicBezTo>
                  <a:cubicBezTo>
                    <a:pt x="1035" y="378"/>
                    <a:pt x="1036" y="515"/>
                    <a:pt x="1057" y="641"/>
                  </a:cubicBezTo>
                  <a:cubicBezTo>
                    <a:pt x="1070" y="720"/>
                    <a:pt x="1091" y="793"/>
                    <a:pt x="1122" y="835"/>
                  </a:cubicBezTo>
                  <a:cubicBezTo>
                    <a:pt x="1139" y="858"/>
                    <a:pt x="1139" y="858"/>
                    <a:pt x="1139" y="858"/>
                  </a:cubicBezTo>
                  <a:cubicBezTo>
                    <a:pt x="1123" y="881"/>
                    <a:pt x="1123" y="881"/>
                    <a:pt x="1123" y="881"/>
                  </a:cubicBezTo>
                  <a:cubicBezTo>
                    <a:pt x="1087" y="936"/>
                    <a:pt x="1033" y="963"/>
                    <a:pt x="975" y="977"/>
                  </a:cubicBezTo>
                  <a:cubicBezTo>
                    <a:pt x="942" y="984"/>
                    <a:pt x="909" y="987"/>
                    <a:pt x="877" y="988"/>
                  </a:cubicBezTo>
                  <a:cubicBezTo>
                    <a:pt x="882" y="994"/>
                    <a:pt x="890" y="999"/>
                    <a:pt x="900" y="1004"/>
                  </a:cubicBezTo>
                  <a:cubicBezTo>
                    <a:pt x="934" y="1024"/>
                    <a:pt x="954" y="1032"/>
                    <a:pt x="992" y="1043"/>
                  </a:cubicBezTo>
                  <a:cubicBezTo>
                    <a:pt x="1050" y="1061"/>
                    <a:pt x="1133" y="1088"/>
                    <a:pt x="1173" y="1127"/>
                  </a:cubicBezTo>
                  <a:cubicBezTo>
                    <a:pt x="1207" y="1160"/>
                    <a:pt x="1234" y="1202"/>
                    <a:pt x="1252" y="1247"/>
                  </a:cubicBezTo>
                  <a:cubicBezTo>
                    <a:pt x="1270" y="1294"/>
                    <a:pt x="1280" y="1345"/>
                    <a:pt x="1280" y="1393"/>
                  </a:cubicBezTo>
                  <a:cubicBezTo>
                    <a:pt x="1280" y="1466"/>
                    <a:pt x="1200" y="1513"/>
                    <a:pt x="1091" y="1541"/>
                  </a:cubicBezTo>
                  <a:cubicBezTo>
                    <a:pt x="950" y="1577"/>
                    <a:pt x="755" y="1589"/>
                    <a:pt x="640" y="1589"/>
                  </a:cubicBezTo>
                  <a:cubicBezTo>
                    <a:pt x="525" y="1589"/>
                    <a:pt x="330" y="1577"/>
                    <a:pt x="189" y="1541"/>
                  </a:cubicBezTo>
                  <a:cubicBezTo>
                    <a:pt x="80" y="1513"/>
                    <a:pt x="0" y="1466"/>
                    <a:pt x="0" y="1393"/>
                  </a:cubicBezTo>
                  <a:cubicBezTo>
                    <a:pt x="0" y="1345"/>
                    <a:pt x="10" y="1294"/>
                    <a:pt x="28" y="1247"/>
                  </a:cubicBezTo>
                  <a:cubicBezTo>
                    <a:pt x="46" y="1202"/>
                    <a:pt x="73" y="1160"/>
                    <a:pt x="107" y="1127"/>
                  </a:cubicBezTo>
                  <a:cubicBezTo>
                    <a:pt x="147" y="1088"/>
                    <a:pt x="231" y="1061"/>
                    <a:pt x="288" y="1043"/>
                  </a:cubicBezTo>
                  <a:cubicBezTo>
                    <a:pt x="319" y="1034"/>
                    <a:pt x="345" y="1026"/>
                    <a:pt x="379" y="1005"/>
                  </a:cubicBezTo>
                  <a:cubicBezTo>
                    <a:pt x="380" y="1004"/>
                    <a:pt x="380" y="1004"/>
                    <a:pt x="380" y="1004"/>
                  </a:cubicBezTo>
                  <a:cubicBezTo>
                    <a:pt x="390" y="999"/>
                    <a:pt x="397" y="994"/>
                    <a:pt x="403" y="988"/>
                  </a:cubicBezTo>
                  <a:cubicBezTo>
                    <a:pt x="314" y="985"/>
                    <a:pt x="216" y="969"/>
                    <a:pt x="157" y="881"/>
                  </a:cubicBezTo>
                  <a:cubicBezTo>
                    <a:pt x="141" y="858"/>
                    <a:pt x="141" y="858"/>
                    <a:pt x="141" y="858"/>
                  </a:cubicBezTo>
                  <a:cubicBezTo>
                    <a:pt x="158" y="835"/>
                    <a:pt x="158" y="835"/>
                    <a:pt x="158" y="835"/>
                  </a:cubicBezTo>
                  <a:cubicBezTo>
                    <a:pt x="189" y="793"/>
                    <a:pt x="210" y="720"/>
                    <a:pt x="223" y="641"/>
                  </a:cubicBezTo>
                  <a:cubicBezTo>
                    <a:pt x="244" y="515"/>
                    <a:pt x="245" y="378"/>
                    <a:pt x="240" y="323"/>
                  </a:cubicBezTo>
                  <a:cubicBezTo>
                    <a:pt x="234" y="259"/>
                    <a:pt x="255" y="192"/>
                    <a:pt x="292" y="137"/>
                  </a:cubicBezTo>
                  <a:cubicBezTo>
                    <a:pt x="352" y="47"/>
                    <a:pt x="444" y="0"/>
                    <a:pt x="55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47" name="Parallelogram 46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  <a:defRPr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Freeform 202"/>
            <p:cNvSpPr>
              <a:spLocks noChangeAspect="1"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299529" y="187321"/>
              <a:ext cx="376636" cy="359716"/>
            </a:xfrm>
            <a:custGeom>
              <a:avLst/>
              <a:gdLst>
                <a:gd name="T0" fmla="*/ 199 w 1960"/>
                <a:gd name="T1" fmla="*/ 819 h 1872"/>
                <a:gd name="T2" fmla="*/ 1807 w 1960"/>
                <a:gd name="T3" fmla="*/ 10 h 1872"/>
                <a:gd name="T4" fmla="*/ 1860 w 1960"/>
                <a:gd name="T5" fmla="*/ 28 h 1872"/>
                <a:gd name="T6" fmla="*/ 1950 w 1960"/>
                <a:gd name="T7" fmla="*/ 206 h 1872"/>
                <a:gd name="T8" fmla="*/ 1933 w 1960"/>
                <a:gd name="T9" fmla="*/ 260 h 1872"/>
                <a:gd name="T10" fmla="*/ 325 w 1960"/>
                <a:gd name="T11" fmla="*/ 1069 h 1872"/>
                <a:gd name="T12" fmla="*/ 271 w 1960"/>
                <a:gd name="T13" fmla="*/ 1051 h 1872"/>
                <a:gd name="T14" fmla="*/ 181 w 1960"/>
                <a:gd name="T15" fmla="*/ 872 h 1872"/>
                <a:gd name="T16" fmla="*/ 199 w 1960"/>
                <a:gd name="T17" fmla="*/ 819 h 1872"/>
                <a:gd name="T18" fmla="*/ 1736 w 1960"/>
                <a:gd name="T19" fmla="*/ 135 h 1872"/>
                <a:gd name="T20" fmla="*/ 1682 w 1960"/>
                <a:gd name="T21" fmla="*/ 296 h 1872"/>
                <a:gd name="T22" fmla="*/ 1861 w 1960"/>
                <a:gd name="T23" fmla="*/ 206 h 1872"/>
                <a:gd name="T24" fmla="*/ 1807 w 1960"/>
                <a:gd name="T25" fmla="*/ 99 h 1872"/>
                <a:gd name="T26" fmla="*/ 1736 w 1960"/>
                <a:gd name="T27" fmla="*/ 135 h 1872"/>
                <a:gd name="T28" fmla="*/ 1092 w 1960"/>
                <a:gd name="T29" fmla="*/ 459 h 1872"/>
                <a:gd name="T30" fmla="*/ 1039 w 1960"/>
                <a:gd name="T31" fmla="*/ 620 h 1872"/>
                <a:gd name="T32" fmla="*/ 1361 w 1960"/>
                <a:gd name="T33" fmla="*/ 458 h 1872"/>
                <a:gd name="T34" fmla="*/ 1414 w 1960"/>
                <a:gd name="T35" fmla="*/ 297 h 1872"/>
                <a:gd name="T36" fmla="*/ 1092 w 1960"/>
                <a:gd name="T37" fmla="*/ 459 h 1872"/>
                <a:gd name="T38" fmla="*/ 449 w 1960"/>
                <a:gd name="T39" fmla="*/ 782 h 1872"/>
                <a:gd name="T40" fmla="*/ 396 w 1960"/>
                <a:gd name="T41" fmla="*/ 943 h 1872"/>
                <a:gd name="T42" fmla="*/ 718 w 1960"/>
                <a:gd name="T43" fmla="*/ 782 h 1872"/>
                <a:gd name="T44" fmla="*/ 771 w 1960"/>
                <a:gd name="T45" fmla="*/ 620 h 1872"/>
                <a:gd name="T46" fmla="*/ 449 w 1960"/>
                <a:gd name="T47" fmla="*/ 782 h 1872"/>
                <a:gd name="T48" fmla="*/ 640 w 1960"/>
                <a:gd name="T49" fmla="*/ 1000 h 1872"/>
                <a:gd name="T50" fmla="*/ 640 w 1960"/>
                <a:gd name="T51" fmla="*/ 1792 h 1872"/>
                <a:gd name="T52" fmla="*/ 720 w 1960"/>
                <a:gd name="T53" fmla="*/ 1792 h 1872"/>
                <a:gd name="T54" fmla="*/ 720 w 1960"/>
                <a:gd name="T55" fmla="*/ 1872 h 1872"/>
                <a:gd name="T56" fmla="*/ 0 w 1960"/>
                <a:gd name="T57" fmla="*/ 1872 h 1872"/>
                <a:gd name="T58" fmla="*/ 0 w 1960"/>
                <a:gd name="T59" fmla="*/ 1792 h 1872"/>
                <a:gd name="T60" fmla="*/ 80 w 1960"/>
                <a:gd name="T61" fmla="*/ 1792 h 1872"/>
                <a:gd name="T62" fmla="*/ 80 w 1960"/>
                <a:gd name="T63" fmla="*/ 672 h 1872"/>
                <a:gd name="T64" fmla="*/ 280 w 1960"/>
                <a:gd name="T65" fmla="*/ 472 h 1872"/>
                <a:gd name="T66" fmla="*/ 440 w 1960"/>
                <a:gd name="T67" fmla="*/ 472 h 1872"/>
                <a:gd name="T68" fmla="*/ 581 w 1960"/>
                <a:gd name="T69" fmla="*/ 531 h 1872"/>
                <a:gd name="T70" fmla="*/ 586 w 1960"/>
                <a:gd name="T71" fmla="*/ 535 h 1872"/>
                <a:gd name="T72" fmla="*/ 163 w 1960"/>
                <a:gd name="T73" fmla="*/ 747 h 1872"/>
                <a:gd name="T74" fmla="*/ 110 w 1960"/>
                <a:gd name="T75" fmla="*/ 908 h 1872"/>
                <a:gd name="T76" fmla="*/ 200 w 1960"/>
                <a:gd name="T77" fmla="*/ 1087 h 1872"/>
                <a:gd name="T78" fmla="*/ 361 w 1960"/>
                <a:gd name="T79" fmla="*/ 1140 h 1872"/>
                <a:gd name="T80" fmla="*/ 640 w 1960"/>
                <a:gd name="T81" fmla="*/ 1000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60" h="1872">
                  <a:moveTo>
                    <a:pt x="199" y="819"/>
                  </a:moveTo>
                  <a:cubicBezTo>
                    <a:pt x="735" y="549"/>
                    <a:pt x="1271" y="280"/>
                    <a:pt x="1807" y="10"/>
                  </a:cubicBezTo>
                  <a:cubicBezTo>
                    <a:pt x="1827" y="0"/>
                    <a:pt x="1851" y="8"/>
                    <a:pt x="1860" y="28"/>
                  </a:cubicBezTo>
                  <a:cubicBezTo>
                    <a:pt x="1950" y="206"/>
                    <a:pt x="1950" y="206"/>
                    <a:pt x="1950" y="206"/>
                  </a:cubicBezTo>
                  <a:cubicBezTo>
                    <a:pt x="1960" y="226"/>
                    <a:pt x="1952" y="250"/>
                    <a:pt x="1933" y="260"/>
                  </a:cubicBezTo>
                  <a:cubicBezTo>
                    <a:pt x="1397" y="530"/>
                    <a:pt x="861" y="799"/>
                    <a:pt x="325" y="1069"/>
                  </a:cubicBezTo>
                  <a:cubicBezTo>
                    <a:pt x="305" y="1079"/>
                    <a:pt x="281" y="1071"/>
                    <a:pt x="271" y="1051"/>
                  </a:cubicBezTo>
                  <a:cubicBezTo>
                    <a:pt x="181" y="872"/>
                    <a:pt x="181" y="872"/>
                    <a:pt x="181" y="872"/>
                  </a:cubicBezTo>
                  <a:cubicBezTo>
                    <a:pt x="171" y="853"/>
                    <a:pt x="179" y="829"/>
                    <a:pt x="199" y="819"/>
                  </a:cubicBezTo>
                  <a:close/>
                  <a:moveTo>
                    <a:pt x="1736" y="135"/>
                  </a:moveTo>
                  <a:cubicBezTo>
                    <a:pt x="1682" y="296"/>
                    <a:pt x="1682" y="296"/>
                    <a:pt x="1682" y="296"/>
                  </a:cubicBezTo>
                  <a:cubicBezTo>
                    <a:pt x="1861" y="206"/>
                    <a:pt x="1861" y="206"/>
                    <a:pt x="1861" y="206"/>
                  </a:cubicBezTo>
                  <a:cubicBezTo>
                    <a:pt x="1807" y="99"/>
                    <a:pt x="1807" y="99"/>
                    <a:pt x="1807" y="99"/>
                  </a:cubicBezTo>
                  <a:lnTo>
                    <a:pt x="1736" y="135"/>
                  </a:lnTo>
                  <a:close/>
                  <a:moveTo>
                    <a:pt x="1092" y="459"/>
                  </a:moveTo>
                  <a:cubicBezTo>
                    <a:pt x="1039" y="620"/>
                    <a:pt x="1039" y="620"/>
                    <a:pt x="1039" y="620"/>
                  </a:cubicBezTo>
                  <a:cubicBezTo>
                    <a:pt x="1361" y="458"/>
                    <a:pt x="1361" y="458"/>
                    <a:pt x="1361" y="458"/>
                  </a:cubicBezTo>
                  <a:cubicBezTo>
                    <a:pt x="1414" y="297"/>
                    <a:pt x="1414" y="297"/>
                    <a:pt x="1414" y="297"/>
                  </a:cubicBezTo>
                  <a:lnTo>
                    <a:pt x="1092" y="459"/>
                  </a:lnTo>
                  <a:close/>
                  <a:moveTo>
                    <a:pt x="449" y="782"/>
                  </a:moveTo>
                  <a:cubicBezTo>
                    <a:pt x="396" y="943"/>
                    <a:pt x="396" y="943"/>
                    <a:pt x="396" y="943"/>
                  </a:cubicBezTo>
                  <a:cubicBezTo>
                    <a:pt x="718" y="782"/>
                    <a:pt x="718" y="782"/>
                    <a:pt x="718" y="782"/>
                  </a:cubicBezTo>
                  <a:cubicBezTo>
                    <a:pt x="771" y="620"/>
                    <a:pt x="771" y="620"/>
                    <a:pt x="771" y="620"/>
                  </a:cubicBezTo>
                  <a:lnTo>
                    <a:pt x="449" y="782"/>
                  </a:lnTo>
                  <a:close/>
                  <a:moveTo>
                    <a:pt x="640" y="1000"/>
                  </a:moveTo>
                  <a:cubicBezTo>
                    <a:pt x="640" y="1792"/>
                    <a:pt x="640" y="1792"/>
                    <a:pt x="640" y="1792"/>
                  </a:cubicBezTo>
                  <a:cubicBezTo>
                    <a:pt x="720" y="1792"/>
                    <a:pt x="720" y="1792"/>
                    <a:pt x="720" y="1792"/>
                  </a:cubicBezTo>
                  <a:cubicBezTo>
                    <a:pt x="720" y="1872"/>
                    <a:pt x="720" y="1872"/>
                    <a:pt x="720" y="1872"/>
                  </a:cubicBezTo>
                  <a:cubicBezTo>
                    <a:pt x="480" y="1872"/>
                    <a:pt x="240" y="1872"/>
                    <a:pt x="0" y="1872"/>
                  </a:cubicBezTo>
                  <a:cubicBezTo>
                    <a:pt x="0" y="1792"/>
                    <a:pt x="0" y="1792"/>
                    <a:pt x="0" y="1792"/>
                  </a:cubicBezTo>
                  <a:cubicBezTo>
                    <a:pt x="80" y="1792"/>
                    <a:pt x="80" y="1792"/>
                    <a:pt x="80" y="1792"/>
                  </a:cubicBezTo>
                  <a:cubicBezTo>
                    <a:pt x="80" y="672"/>
                    <a:pt x="80" y="672"/>
                    <a:pt x="80" y="672"/>
                  </a:cubicBezTo>
                  <a:cubicBezTo>
                    <a:pt x="80" y="562"/>
                    <a:pt x="170" y="472"/>
                    <a:pt x="280" y="472"/>
                  </a:cubicBezTo>
                  <a:cubicBezTo>
                    <a:pt x="440" y="472"/>
                    <a:pt x="440" y="472"/>
                    <a:pt x="440" y="472"/>
                  </a:cubicBezTo>
                  <a:cubicBezTo>
                    <a:pt x="495" y="472"/>
                    <a:pt x="545" y="494"/>
                    <a:pt x="581" y="531"/>
                  </a:cubicBezTo>
                  <a:cubicBezTo>
                    <a:pt x="583" y="532"/>
                    <a:pt x="584" y="534"/>
                    <a:pt x="586" y="535"/>
                  </a:cubicBezTo>
                  <a:cubicBezTo>
                    <a:pt x="163" y="747"/>
                    <a:pt x="163" y="747"/>
                    <a:pt x="163" y="747"/>
                  </a:cubicBezTo>
                  <a:cubicBezTo>
                    <a:pt x="104" y="777"/>
                    <a:pt x="80" y="849"/>
                    <a:pt x="110" y="908"/>
                  </a:cubicBezTo>
                  <a:cubicBezTo>
                    <a:pt x="200" y="1087"/>
                    <a:pt x="200" y="1087"/>
                    <a:pt x="200" y="1087"/>
                  </a:cubicBezTo>
                  <a:cubicBezTo>
                    <a:pt x="229" y="1146"/>
                    <a:pt x="302" y="1170"/>
                    <a:pt x="361" y="1140"/>
                  </a:cubicBezTo>
                  <a:lnTo>
                    <a:pt x="640" y="10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0" name="Oval 49"/>
          <p:cNvSpPr/>
          <p:nvPr/>
        </p:nvSpPr>
        <p:spPr bwMode="gray">
          <a:xfrm>
            <a:off x="1211263" y="1413177"/>
            <a:ext cx="720000" cy="720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51" name="Oval 50"/>
          <p:cNvSpPr/>
          <p:nvPr/>
        </p:nvSpPr>
        <p:spPr bwMode="gray">
          <a:xfrm>
            <a:off x="4560910" y="1668850"/>
            <a:ext cx="720000" cy="720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55" name="Oval 54"/>
          <p:cNvSpPr/>
          <p:nvPr/>
        </p:nvSpPr>
        <p:spPr bwMode="gray">
          <a:xfrm>
            <a:off x="7674623" y="3031346"/>
            <a:ext cx="720000" cy="720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56" name="Oval 55"/>
          <p:cNvSpPr/>
          <p:nvPr/>
        </p:nvSpPr>
        <p:spPr bwMode="gray">
          <a:xfrm>
            <a:off x="8043384" y="6018206"/>
            <a:ext cx="720000" cy="72000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" name="Rectangle 5"/>
          <p:cNvSpPr/>
          <p:nvPr/>
        </p:nvSpPr>
        <p:spPr>
          <a:xfrm>
            <a:off x="1906489" y="3658676"/>
            <a:ext cx="2843829" cy="261610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nl-BE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segmenten kunne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nl-BE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definieerd worden aan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nl-BE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hand van hun gedrag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nl-BE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attitude t.o.v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nl-BE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voorzichtig gedrag in de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nl-BE" sz="16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urt van overwege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nl-NL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nl-NL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nl-NL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nl-NL" sz="16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143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71"/>
          <a:stretch/>
        </p:blipFill>
        <p:spPr>
          <a:xfrm>
            <a:off x="319914" y="232418"/>
            <a:ext cx="2054700" cy="2739600"/>
          </a:xfrm>
          <a:prstGeom prst="rect">
            <a:avLst/>
          </a:prstGeom>
        </p:spPr>
      </p:pic>
      <p:sp>
        <p:nvSpPr>
          <p:cNvPr id="62" name="Rounded Rectangle 61"/>
          <p:cNvSpPr/>
          <p:nvPr/>
        </p:nvSpPr>
        <p:spPr bwMode="gray">
          <a:xfrm>
            <a:off x="6966340" y="1671712"/>
            <a:ext cx="4589217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3" name="Rounded Rectangle 62"/>
          <p:cNvSpPr/>
          <p:nvPr/>
        </p:nvSpPr>
        <p:spPr bwMode="gray">
          <a:xfrm>
            <a:off x="919532" y="1671711"/>
            <a:ext cx="5923396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 bwMode="gray">
          <a:xfrm>
            <a:off x="189185" y="890136"/>
            <a:ext cx="133956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9B1F2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Maak hen bewust van de gevaren</a:t>
            </a:r>
            <a:br>
              <a:rPr lang="nl-BE" sz="2400" b="1" dirty="0">
                <a:solidFill>
                  <a:srgbClr val="9B1F2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2400" b="1" dirty="0">
                <a:solidFill>
                  <a:srgbClr val="9B1F2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&amp; geef grotere gevolgen aan gedrag</a:t>
            </a:r>
          </a:p>
        </p:txBody>
      </p:sp>
      <p:sp>
        <p:nvSpPr>
          <p:cNvPr id="12" name="Oval 11"/>
          <p:cNvSpPr/>
          <p:nvPr/>
        </p:nvSpPr>
        <p:spPr bwMode="gray">
          <a:xfrm>
            <a:off x="1895529" y="281583"/>
            <a:ext cx="1920000" cy="1920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4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endParaRPr lang="nl-BE" b="1" dirty="0" smtClean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Dangerous</a:t>
            </a:r>
            <a:b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doers</a:t>
            </a:r>
            <a:endParaRPr lang="nl-BE" b="1" dirty="0" smtClean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nl-BE" sz="2400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18</a:t>
            </a:r>
            <a: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%</a:t>
            </a:r>
            <a:b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endParaRPr lang="nl-BE" sz="2400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5" name="Rectangle 44"/>
          <p:cNvSpPr/>
          <p:nvPr/>
        </p:nvSpPr>
        <p:spPr bwMode="gray">
          <a:xfrm>
            <a:off x="10871336" y="6533769"/>
            <a:ext cx="255182" cy="1914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6" name="Rectangle 45"/>
          <p:cNvSpPr/>
          <p:nvPr/>
        </p:nvSpPr>
        <p:spPr bwMode="gray">
          <a:xfrm>
            <a:off x="10588347" y="6535109"/>
            <a:ext cx="255182" cy="191449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6" name="Freeform 3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653754" y="1996183"/>
            <a:ext cx="354052" cy="258657"/>
          </a:xfrm>
          <a:custGeom>
            <a:avLst/>
            <a:gdLst>
              <a:gd name="T0" fmla="*/ 160 w 2080"/>
              <a:gd name="T1" fmla="*/ 0 h 1520"/>
              <a:gd name="T2" fmla="*/ 1920 w 2080"/>
              <a:gd name="T3" fmla="*/ 0 h 1520"/>
              <a:gd name="T4" fmla="*/ 2080 w 2080"/>
              <a:gd name="T5" fmla="*/ 160 h 1520"/>
              <a:gd name="T6" fmla="*/ 2080 w 2080"/>
              <a:gd name="T7" fmla="*/ 1360 h 1520"/>
              <a:gd name="T8" fmla="*/ 1920 w 2080"/>
              <a:gd name="T9" fmla="*/ 1520 h 1520"/>
              <a:gd name="T10" fmla="*/ 160 w 2080"/>
              <a:gd name="T11" fmla="*/ 1520 h 1520"/>
              <a:gd name="T12" fmla="*/ 0 w 2080"/>
              <a:gd name="T13" fmla="*/ 1360 h 1520"/>
              <a:gd name="T14" fmla="*/ 0 w 2080"/>
              <a:gd name="T15" fmla="*/ 160 h 1520"/>
              <a:gd name="T16" fmla="*/ 160 w 2080"/>
              <a:gd name="T17" fmla="*/ 0 h 1520"/>
              <a:gd name="T18" fmla="*/ 1120 w 2080"/>
              <a:gd name="T19" fmla="*/ 320 h 1520"/>
              <a:gd name="T20" fmla="*/ 1120 w 2080"/>
              <a:gd name="T21" fmla="*/ 1360 h 1520"/>
              <a:gd name="T22" fmla="*/ 1920 w 2080"/>
              <a:gd name="T23" fmla="*/ 1360 h 1520"/>
              <a:gd name="T24" fmla="*/ 1920 w 2080"/>
              <a:gd name="T25" fmla="*/ 320 h 1520"/>
              <a:gd name="T26" fmla="*/ 1120 w 2080"/>
              <a:gd name="T27" fmla="*/ 320 h 1520"/>
              <a:gd name="T28" fmla="*/ 1840 w 2080"/>
              <a:gd name="T29" fmla="*/ 400 h 1520"/>
              <a:gd name="T30" fmla="*/ 1840 w 2080"/>
              <a:gd name="T31" fmla="*/ 1200 h 1520"/>
              <a:gd name="T32" fmla="*/ 1816 w 2080"/>
              <a:gd name="T33" fmla="*/ 1170 h 1520"/>
              <a:gd name="T34" fmla="*/ 1750 w 2080"/>
              <a:gd name="T35" fmla="*/ 1136 h 1520"/>
              <a:gd name="T36" fmla="*/ 1660 w 2080"/>
              <a:gd name="T37" fmla="*/ 1102 h 1520"/>
              <a:gd name="T38" fmla="*/ 1625 w 2080"/>
              <a:gd name="T39" fmla="*/ 996 h 1520"/>
              <a:gd name="T40" fmla="*/ 1689 w 2080"/>
              <a:gd name="T41" fmla="*/ 871 h 1520"/>
              <a:gd name="T42" fmla="*/ 1724 w 2080"/>
              <a:gd name="T43" fmla="*/ 779 h 1520"/>
              <a:gd name="T44" fmla="*/ 1731 w 2080"/>
              <a:gd name="T45" fmla="*/ 671 h 1520"/>
              <a:gd name="T46" fmla="*/ 1568 w 2080"/>
              <a:gd name="T47" fmla="*/ 545 h 1520"/>
              <a:gd name="T48" fmla="*/ 1511 w 2080"/>
              <a:gd name="T49" fmla="*/ 521 h 1520"/>
              <a:gd name="T50" fmla="*/ 1309 w 2080"/>
              <a:gd name="T51" fmla="*/ 672 h 1520"/>
              <a:gd name="T52" fmla="*/ 1316 w 2080"/>
              <a:gd name="T53" fmla="*/ 779 h 1520"/>
              <a:gd name="T54" fmla="*/ 1351 w 2080"/>
              <a:gd name="T55" fmla="*/ 871 h 1520"/>
              <a:gd name="T56" fmla="*/ 1415 w 2080"/>
              <a:gd name="T57" fmla="*/ 996 h 1520"/>
              <a:gd name="T58" fmla="*/ 1380 w 2080"/>
              <a:gd name="T59" fmla="*/ 1102 h 1520"/>
              <a:gd name="T60" fmla="*/ 1290 w 2080"/>
              <a:gd name="T61" fmla="*/ 1136 h 1520"/>
              <a:gd name="T62" fmla="*/ 1224 w 2080"/>
              <a:gd name="T63" fmla="*/ 1170 h 1520"/>
              <a:gd name="T64" fmla="*/ 1200 w 2080"/>
              <a:gd name="T65" fmla="*/ 1200 h 1520"/>
              <a:gd name="T66" fmla="*/ 1200 w 2080"/>
              <a:gd name="T67" fmla="*/ 400 h 1520"/>
              <a:gd name="T68" fmla="*/ 1840 w 2080"/>
              <a:gd name="T69" fmla="*/ 400 h 1520"/>
              <a:gd name="T70" fmla="*/ 240 w 2080"/>
              <a:gd name="T71" fmla="*/ 480 h 1520"/>
              <a:gd name="T72" fmla="*/ 240 w 2080"/>
              <a:gd name="T73" fmla="*/ 560 h 1520"/>
              <a:gd name="T74" fmla="*/ 959 w 2080"/>
              <a:gd name="T75" fmla="*/ 560 h 1520"/>
              <a:gd name="T76" fmla="*/ 959 w 2080"/>
              <a:gd name="T77" fmla="*/ 480 h 1520"/>
              <a:gd name="T78" fmla="*/ 240 w 2080"/>
              <a:gd name="T79" fmla="*/ 480 h 1520"/>
              <a:gd name="T80" fmla="*/ 241 w 2080"/>
              <a:gd name="T81" fmla="*/ 719 h 1520"/>
              <a:gd name="T82" fmla="*/ 241 w 2080"/>
              <a:gd name="T83" fmla="*/ 799 h 1520"/>
              <a:gd name="T84" fmla="*/ 960 w 2080"/>
              <a:gd name="T85" fmla="*/ 799 h 1520"/>
              <a:gd name="T86" fmla="*/ 960 w 2080"/>
              <a:gd name="T87" fmla="*/ 719 h 1520"/>
              <a:gd name="T88" fmla="*/ 241 w 2080"/>
              <a:gd name="T89" fmla="*/ 719 h 1520"/>
              <a:gd name="T90" fmla="*/ 241 w 2080"/>
              <a:gd name="T91" fmla="*/ 960 h 1520"/>
              <a:gd name="T92" fmla="*/ 241 w 2080"/>
              <a:gd name="T93" fmla="*/ 1040 h 1520"/>
              <a:gd name="T94" fmla="*/ 720 w 2080"/>
              <a:gd name="T95" fmla="*/ 1040 h 1520"/>
              <a:gd name="T96" fmla="*/ 720 w 2080"/>
              <a:gd name="T97" fmla="*/ 960 h 1520"/>
              <a:gd name="T98" fmla="*/ 241 w 2080"/>
              <a:gd name="T99" fmla="*/ 96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520">
                <a:moveTo>
                  <a:pt x="160" y="0"/>
                </a:moveTo>
                <a:cubicBezTo>
                  <a:pt x="1920" y="0"/>
                  <a:pt x="1920" y="0"/>
                  <a:pt x="1920" y="0"/>
                </a:cubicBezTo>
                <a:cubicBezTo>
                  <a:pt x="2008" y="0"/>
                  <a:pt x="2080" y="72"/>
                  <a:pt x="2080" y="160"/>
                </a:cubicBezTo>
                <a:cubicBezTo>
                  <a:pt x="2080" y="1360"/>
                  <a:pt x="2080" y="1360"/>
                  <a:pt x="2080" y="1360"/>
                </a:cubicBezTo>
                <a:cubicBezTo>
                  <a:pt x="2080" y="1448"/>
                  <a:pt x="2008" y="1520"/>
                  <a:pt x="1920" y="1520"/>
                </a:cubicBezTo>
                <a:cubicBezTo>
                  <a:pt x="160" y="1520"/>
                  <a:pt x="160" y="1520"/>
                  <a:pt x="160" y="1520"/>
                </a:cubicBezTo>
                <a:cubicBezTo>
                  <a:pt x="72" y="1520"/>
                  <a:pt x="0" y="1448"/>
                  <a:pt x="0" y="13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72"/>
                  <a:pt x="72" y="0"/>
                  <a:pt x="160" y="0"/>
                </a:cubicBezTo>
                <a:close/>
                <a:moveTo>
                  <a:pt x="1120" y="320"/>
                </a:moveTo>
                <a:cubicBezTo>
                  <a:pt x="1120" y="1360"/>
                  <a:pt x="1120" y="1360"/>
                  <a:pt x="1120" y="1360"/>
                </a:cubicBezTo>
                <a:cubicBezTo>
                  <a:pt x="1920" y="1360"/>
                  <a:pt x="1920" y="1360"/>
                  <a:pt x="1920" y="1360"/>
                </a:cubicBezTo>
                <a:cubicBezTo>
                  <a:pt x="1920" y="320"/>
                  <a:pt x="1920" y="320"/>
                  <a:pt x="1920" y="320"/>
                </a:cubicBezTo>
                <a:lnTo>
                  <a:pt x="1120" y="320"/>
                </a:lnTo>
                <a:close/>
                <a:moveTo>
                  <a:pt x="1840" y="400"/>
                </a:moveTo>
                <a:cubicBezTo>
                  <a:pt x="1840" y="1200"/>
                  <a:pt x="1840" y="1200"/>
                  <a:pt x="1840" y="1200"/>
                </a:cubicBezTo>
                <a:cubicBezTo>
                  <a:pt x="1833" y="1189"/>
                  <a:pt x="1825" y="1178"/>
                  <a:pt x="1816" y="1170"/>
                </a:cubicBezTo>
                <a:cubicBezTo>
                  <a:pt x="1799" y="1154"/>
                  <a:pt x="1772" y="1144"/>
                  <a:pt x="1750" y="1136"/>
                </a:cubicBezTo>
                <a:cubicBezTo>
                  <a:pt x="1714" y="1123"/>
                  <a:pt x="1693" y="1122"/>
                  <a:pt x="1660" y="1102"/>
                </a:cubicBezTo>
                <a:cubicBezTo>
                  <a:pt x="1628" y="1083"/>
                  <a:pt x="1626" y="1029"/>
                  <a:pt x="1625" y="996"/>
                </a:cubicBezTo>
                <a:cubicBezTo>
                  <a:pt x="1654" y="968"/>
                  <a:pt x="1679" y="908"/>
                  <a:pt x="1689" y="871"/>
                </a:cubicBezTo>
                <a:cubicBezTo>
                  <a:pt x="1722" y="855"/>
                  <a:pt x="1734" y="813"/>
                  <a:pt x="1724" y="779"/>
                </a:cubicBezTo>
                <a:cubicBezTo>
                  <a:pt x="1731" y="671"/>
                  <a:pt x="1731" y="671"/>
                  <a:pt x="1731" y="671"/>
                </a:cubicBezTo>
                <a:cubicBezTo>
                  <a:pt x="1738" y="594"/>
                  <a:pt x="1645" y="507"/>
                  <a:pt x="1568" y="545"/>
                </a:cubicBezTo>
                <a:cubicBezTo>
                  <a:pt x="1548" y="532"/>
                  <a:pt x="1536" y="525"/>
                  <a:pt x="1511" y="521"/>
                </a:cubicBezTo>
                <a:cubicBezTo>
                  <a:pt x="1413" y="505"/>
                  <a:pt x="1307" y="564"/>
                  <a:pt x="1309" y="672"/>
                </a:cubicBezTo>
                <a:cubicBezTo>
                  <a:pt x="1316" y="779"/>
                  <a:pt x="1316" y="779"/>
                  <a:pt x="1316" y="779"/>
                </a:cubicBezTo>
                <a:cubicBezTo>
                  <a:pt x="1306" y="812"/>
                  <a:pt x="1318" y="855"/>
                  <a:pt x="1351" y="871"/>
                </a:cubicBezTo>
                <a:cubicBezTo>
                  <a:pt x="1361" y="909"/>
                  <a:pt x="1387" y="969"/>
                  <a:pt x="1415" y="996"/>
                </a:cubicBezTo>
                <a:cubicBezTo>
                  <a:pt x="1415" y="1028"/>
                  <a:pt x="1410" y="1084"/>
                  <a:pt x="1380" y="1102"/>
                </a:cubicBezTo>
                <a:cubicBezTo>
                  <a:pt x="1347" y="1122"/>
                  <a:pt x="1326" y="1123"/>
                  <a:pt x="1290" y="1136"/>
                </a:cubicBezTo>
                <a:cubicBezTo>
                  <a:pt x="1268" y="1144"/>
                  <a:pt x="1241" y="1154"/>
                  <a:pt x="1224" y="1170"/>
                </a:cubicBezTo>
                <a:cubicBezTo>
                  <a:pt x="1215" y="1178"/>
                  <a:pt x="1207" y="1189"/>
                  <a:pt x="1200" y="1200"/>
                </a:cubicBezTo>
                <a:cubicBezTo>
                  <a:pt x="1200" y="400"/>
                  <a:pt x="1200" y="400"/>
                  <a:pt x="1200" y="400"/>
                </a:cubicBezTo>
                <a:lnTo>
                  <a:pt x="1840" y="400"/>
                </a:lnTo>
                <a:close/>
                <a:moveTo>
                  <a:pt x="240" y="480"/>
                </a:moveTo>
                <a:cubicBezTo>
                  <a:pt x="240" y="560"/>
                  <a:pt x="240" y="560"/>
                  <a:pt x="240" y="560"/>
                </a:cubicBezTo>
                <a:cubicBezTo>
                  <a:pt x="959" y="560"/>
                  <a:pt x="959" y="560"/>
                  <a:pt x="959" y="560"/>
                </a:cubicBezTo>
                <a:cubicBezTo>
                  <a:pt x="959" y="480"/>
                  <a:pt x="959" y="480"/>
                  <a:pt x="959" y="480"/>
                </a:cubicBezTo>
                <a:lnTo>
                  <a:pt x="240" y="480"/>
                </a:lnTo>
                <a:close/>
                <a:moveTo>
                  <a:pt x="241" y="719"/>
                </a:moveTo>
                <a:cubicBezTo>
                  <a:pt x="241" y="799"/>
                  <a:pt x="241" y="799"/>
                  <a:pt x="241" y="799"/>
                </a:cubicBezTo>
                <a:cubicBezTo>
                  <a:pt x="960" y="799"/>
                  <a:pt x="960" y="799"/>
                  <a:pt x="960" y="799"/>
                </a:cubicBezTo>
                <a:cubicBezTo>
                  <a:pt x="960" y="719"/>
                  <a:pt x="960" y="719"/>
                  <a:pt x="960" y="719"/>
                </a:cubicBezTo>
                <a:lnTo>
                  <a:pt x="241" y="719"/>
                </a:lnTo>
                <a:close/>
                <a:moveTo>
                  <a:pt x="241" y="960"/>
                </a:moveTo>
                <a:cubicBezTo>
                  <a:pt x="241" y="1040"/>
                  <a:pt x="241" y="1040"/>
                  <a:pt x="241" y="1040"/>
                </a:cubicBezTo>
                <a:cubicBezTo>
                  <a:pt x="720" y="1040"/>
                  <a:pt x="720" y="1040"/>
                  <a:pt x="720" y="1040"/>
                </a:cubicBezTo>
                <a:cubicBezTo>
                  <a:pt x="720" y="960"/>
                  <a:pt x="720" y="960"/>
                  <a:pt x="720" y="960"/>
                </a:cubicBezTo>
                <a:lnTo>
                  <a:pt x="241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 bwMode="gray">
          <a:xfrm>
            <a:off x="8039648" y="191732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eftijd</a:t>
            </a:r>
          </a:p>
        </p:txBody>
      </p:sp>
      <p:graphicFrame>
        <p:nvGraphicFramePr>
          <p:cNvPr id="64" name="Chart 63"/>
          <p:cNvGraphicFramePr/>
          <p:nvPr>
            <p:extLst>
              <p:ext uri="{D42A27DB-BD31-4B8C-83A1-F6EECF244321}">
                <p14:modId xmlns:p14="http://schemas.microsoft.com/office/powerpoint/2010/main" val="2211699181"/>
              </p:ext>
            </p:extLst>
          </p:nvPr>
        </p:nvGraphicFramePr>
        <p:xfrm>
          <a:off x="7242100" y="2134448"/>
          <a:ext cx="2424182" cy="1390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72" name="Picture 2" descr="C:\Users\karolien.smets\Pictures\NL_land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4969" y="2298266"/>
            <a:ext cx="576677" cy="19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3" descr="C:\Users\karolien.smets\Pictures\FR_land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2444" y="3205893"/>
            <a:ext cx="528801" cy="287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6" descr="File:Flag map of Brussels.sv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0269" y="2746114"/>
            <a:ext cx="266076" cy="235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TextBox 29"/>
          <p:cNvSpPr txBox="1"/>
          <p:nvPr/>
        </p:nvSpPr>
        <p:spPr bwMode="gray">
          <a:xfrm>
            <a:off x="10481413" y="2303200"/>
            <a:ext cx="475698" cy="18466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68%</a:t>
            </a:r>
          </a:p>
        </p:txBody>
      </p:sp>
      <p:sp>
        <p:nvSpPr>
          <p:cNvPr id="76" name="TextBox 29"/>
          <p:cNvSpPr txBox="1"/>
          <p:nvPr/>
        </p:nvSpPr>
        <p:spPr bwMode="gray">
          <a:xfrm>
            <a:off x="10450337" y="2792794"/>
            <a:ext cx="506774" cy="18466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4%</a:t>
            </a:r>
          </a:p>
        </p:txBody>
      </p:sp>
      <p:sp>
        <p:nvSpPr>
          <p:cNvPr id="77" name="TextBox 29"/>
          <p:cNvSpPr txBox="1"/>
          <p:nvPr/>
        </p:nvSpPr>
        <p:spPr bwMode="gray">
          <a:xfrm>
            <a:off x="10455093" y="3235210"/>
            <a:ext cx="50677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27%</a:t>
            </a:r>
          </a:p>
        </p:txBody>
      </p:sp>
      <p:sp>
        <p:nvSpPr>
          <p:cNvPr id="78" name="TextBox 77"/>
          <p:cNvSpPr txBox="1"/>
          <p:nvPr/>
        </p:nvSpPr>
        <p:spPr bwMode="gray">
          <a:xfrm>
            <a:off x="9711208" y="192258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gio</a:t>
            </a:r>
          </a:p>
        </p:txBody>
      </p:sp>
      <p:cxnSp>
        <p:nvCxnSpPr>
          <p:cNvPr id="80" name="Straight Connector 79"/>
          <p:cNvCxnSpPr/>
          <p:nvPr/>
        </p:nvCxnSpPr>
        <p:spPr>
          <a:xfrm flipV="1">
            <a:off x="8895862" y="4026912"/>
            <a:ext cx="90000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 bwMode="gray">
          <a:xfrm>
            <a:off x="10155629" y="4134974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9%</a:t>
            </a:r>
          </a:p>
        </p:txBody>
      </p:sp>
      <p:sp>
        <p:nvSpPr>
          <p:cNvPr id="82" name="TextBox 81"/>
          <p:cNvSpPr txBox="1"/>
          <p:nvPr/>
        </p:nvSpPr>
        <p:spPr bwMode="gray">
          <a:xfrm>
            <a:off x="8557106" y="4097045"/>
            <a:ext cx="178454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bruik van smartphone in het verkeer als voetganger</a:t>
            </a:r>
          </a:p>
        </p:txBody>
      </p:sp>
      <p:sp>
        <p:nvSpPr>
          <p:cNvPr id="83" name="TextBox 82"/>
          <p:cNvSpPr txBox="1"/>
          <p:nvPr/>
        </p:nvSpPr>
        <p:spPr bwMode="gray">
          <a:xfrm>
            <a:off x="10179270" y="4581095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49%</a:t>
            </a:r>
          </a:p>
        </p:txBody>
      </p:sp>
      <p:sp>
        <p:nvSpPr>
          <p:cNvPr id="84" name="TextBox 83"/>
          <p:cNvSpPr txBox="1"/>
          <p:nvPr/>
        </p:nvSpPr>
        <p:spPr bwMode="gray">
          <a:xfrm>
            <a:off x="8570926" y="4928453"/>
            <a:ext cx="187941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en overweg gebruiken wanneer het zicht beperkt is</a:t>
            </a:r>
          </a:p>
        </p:txBody>
      </p:sp>
      <p:sp>
        <p:nvSpPr>
          <p:cNvPr id="85" name="TextBox 84"/>
          <p:cNvSpPr txBox="1"/>
          <p:nvPr/>
        </p:nvSpPr>
        <p:spPr bwMode="gray">
          <a:xfrm>
            <a:off x="10192945" y="5000740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6%</a:t>
            </a:r>
          </a:p>
        </p:txBody>
      </p:sp>
      <p:sp>
        <p:nvSpPr>
          <p:cNvPr id="86" name="TextBox 85"/>
          <p:cNvSpPr txBox="1"/>
          <p:nvPr/>
        </p:nvSpPr>
        <p:spPr bwMode="gray">
          <a:xfrm>
            <a:off x="8747578" y="4531082"/>
            <a:ext cx="130988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aten terwijl je een overweg oversteekt</a:t>
            </a:r>
          </a:p>
        </p:txBody>
      </p:sp>
      <p:sp>
        <p:nvSpPr>
          <p:cNvPr id="87" name="Freeform 1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668729" y="3583425"/>
            <a:ext cx="292481" cy="340814"/>
          </a:xfrm>
          <a:custGeom>
            <a:avLst/>
            <a:gdLst>
              <a:gd name="T0" fmla="*/ 68 w 1693"/>
              <a:gd name="T1" fmla="*/ 1211 h 1973"/>
              <a:gd name="T2" fmla="*/ 8 w 1693"/>
              <a:gd name="T3" fmla="*/ 900 h 1973"/>
              <a:gd name="T4" fmla="*/ 108 w 1693"/>
              <a:gd name="T5" fmla="*/ 558 h 1973"/>
              <a:gd name="T6" fmla="*/ 340 w 1693"/>
              <a:gd name="T7" fmla="*/ 409 h 1973"/>
              <a:gd name="T8" fmla="*/ 680 w 1693"/>
              <a:gd name="T9" fmla="*/ 705 h 1973"/>
              <a:gd name="T10" fmla="*/ 694 w 1693"/>
              <a:gd name="T11" fmla="*/ 1022 h 1973"/>
              <a:gd name="T12" fmla="*/ 704 w 1693"/>
              <a:gd name="T13" fmla="*/ 1334 h 1973"/>
              <a:gd name="T14" fmla="*/ 711 w 1693"/>
              <a:gd name="T15" fmla="*/ 1369 h 1973"/>
              <a:gd name="T16" fmla="*/ 204 w 1693"/>
              <a:gd name="T17" fmla="*/ 1528 h 1973"/>
              <a:gd name="T18" fmla="*/ 188 w 1693"/>
              <a:gd name="T19" fmla="*/ 1496 h 1973"/>
              <a:gd name="T20" fmla="*/ 68 w 1693"/>
              <a:gd name="T21" fmla="*/ 1211 h 1973"/>
              <a:gd name="T22" fmla="*/ 709 w 1693"/>
              <a:gd name="T23" fmla="*/ 1480 h 1973"/>
              <a:gd name="T24" fmla="*/ 738 w 1693"/>
              <a:gd name="T25" fmla="*/ 1558 h 1973"/>
              <a:gd name="T26" fmla="*/ 610 w 1693"/>
              <a:gd name="T27" fmla="*/ 1929 h 1973"/>
              <a:gd name="T28" fmla="*/ 557 w 1693"/>
              <a:gd name="T29" fmla="*/ 1945 h 1973"/>
              <a:gd name="T30" fmla="*/ 247 w 1693"/>
              <a:gd name="T31" fmla="*/ 1712 h 1973"/>
              <a:gd name="T32" fmla="*/ 230 w 1693"/>
              <a:gd name="T33" fmla="*/ 1636 h 1973"/>
              <a:gd name="T34" fmla="*/ 709 w 1693"/>
              <a:gd name="T35" fmla="*/ 1480 h 1973"/>
              <a:gd name="T36" fmla="*/ 1685 w 1693"/>
              <a:gd name="T37" fmla="*/ 501 h 1973"/>
              <a:gd name="T38" fmla="*/ 1625 w 1693"/>
              <a:gd name="T39" fmla="*/ 813 h 1973"/>
              <a:gd name="T40" fmla="*/ 1504 w 1693"/>
              <a:gd name="T41" fmla="*/ 1098 h 1973"/>
              <a:gd name="T42" fmla="*/ 1489 w 1693"/>
              <a:gd name="T43" fmla="*/ 1129 h 1973"/>
              <a:gd name="T44" fmla="*/ 982 w 1693"/>
              <a:gd name="T45" fmla="*/ 970 h 1973"/>
              <a:gd name="T46" fmla="*/ 989 w 1693"/>
              <a:gd name="T47" fmla="*/ 935 h 1973"/>
              <a:gd name="T48" fmla="*/ 999 w 1693"/>
              <a:gd name="T49" fmla="*/ 624 h 1973"/>
              <a:gd name="T50" fmla="*/ 1013 w 1693"/>
              <a:gd name="T51" fmla="*/ 307 h 1973"/>
              <a:gd name="T52" fmla="*/ 1352 w 1693"/>
              <a:gd name="T53" fmla="*/ 10 h 1973"/>
              <a:gd name="T54" fmla="*/ 1584 w 1693"/>
              <a:gd name="T55" fmla="*/ 159 h 1973"/>
              <a:gd name="T56" fmla="*/ 1685 w 1693"/>
              <a:gd name="T57" fmla="*/ 501 h 1973"/>
              <a:gd name="T58" fmla="*/ 1463 w 1693"/>
              <a:gd name="T59" fmla="*/ 1238 h 1973"/>
              <a:gd name="T60" fmla="*/ 1456 w 1693"/>
              <a:gd name="T61" fmla="*/ 1272 h 1973"/>
              <a:gd name="T62" fmla="*/ 1446 w 1693"/>
              <a:gd name="T63" fmla="*/ 1314 h 1973"/>
              <a:gd name="T64" fmla="*/ 1136 w 1693"/>
              <a:gd name="T65" fmla="*/ 1546 h 1973"/>
              <a:gd name="T66" fmla="*/ 1105 w 1693"/>
              <a:gd name="T67" fmla="*/ 1539 h 1973"/>
              <a:gd name="T68" fmla="*/ 1082 w 1693"/>
              <a:gd name="T69" fmla="*/ 1531 h 1973"/>
              <a:gd name="T70" fmla="*/ 954 w 1693"/>
              <a:gd name="T71" fmla="*/ 1160 h 1973"/>
              <a:gd name="T72" fmla="*/ 970 w 1693"/>
              <a:gd name="T73" fmla="*/ 1117 h 1973"/>
              <a:gd name="T74" fmla="*/ 984 w 1693"/>
              <a:gd name="T75" fmla="*/ 1082 h 1973"/>
              <a:gd name="T76" fmla="*/ 1463 w 1693"/>
              <a:gd name="T77" fmla="*/ 1238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3" h="1973">
                <a:moveTo>
                  <a:pt x="68" y="1211"/>
                </a:moveTo>
                <a:cubicBezTo>
                  <a:pt x="36" y="1116"/>
                  <a:pt x="16" y="1018"/>
                  <a:pt x="8" y="900"/>
                </a:cubicBezTo>
                <a:cubicBezTo>
                  <a:pt x="0" y="783"/>
                  <a:pt x="40" y="653"/>
                  <a:pt x="108" y="558"/>
                </a:cubicBezTo>
                <a:cubicBezTo>
                  <a:pt x="163" y="481"/>
                  <a:pt x="243" y="416"/>
                  <a:pt x="340" y="409"/>
                </a:cubicBezTo>
                <a:cubicBezTo>
                  <a:pt x="504" y="398"/>
                  <a:pt x="640" y="560"/>
                  <a:pt x="680" y="705"/>
                </a:cubicBezTo>
                <a:cubicBezTo>
                  <a:pt x="709" y="810"/>
                  <a:pt x="703" y="915"/>
                  <a:pt x="694" y="1022"/>
                </a:cubicBezTo>
                <a:cubicBezTo>
                  <a:pt x="682" y="1148"/>
                  <a:pt x="678" y="1199"/>
                  <a:pt x="704" y="1334"/>
                </a:cubicBezTo>
                <a:cubicBezTo>
                  <a:pt x="711" y="1369"/>
                  <a:pt x="711" y="1369"/>
                  <a:pt x="711" y="1369"/>
                </a:cubicBezTo>
                <a:cubicBezTo>
                  <a:pt x="542" y="1422"/>
                  <a:pt x="373" y="1474"/>
                  <a:pt x="204" y="1528"/>
                </a:cubicBezTo>
                <a:cubicBezTo>
                  <a:pt x="188" y="1496"/>
                  <a:pt x="188" y="1496"/>
                  <a:pt x="188" y="1496"/>
                </a:cubicBezTo>
                <a:cubicBezTo>
                  <a:pt x="139" y="1396"/>
                  <a:pt x="98" y="1306"/>
                  <a:pt x="68" y="1211"/>
                </a:cubicBezTo>
                <a:close/>
                <a:moveTo>
                  <a:pt x="709" y="1480"/>
                </a:moveTo>
                <a:cubicBezTo>
                  <a:pt x="720" y="1506"/>
                  <a:pt x="730" y="1532"/>
                  <a:pt x="738" y="1558"/>
                </a:cubicBezTo>
                <a:cubicBezTo>
                  <a:pt x="782" y="1701"/>
                  <a:pt x="767" y="1867"/>
                  <a:pt x="610" y="1929"/>
                </a:cubicBezTo>
                <a:cubicBezTo>
                  <a:pt x="593" y="1936"/>
                  <a:pt x="575" y="1941"/>
                  <a:pt x="557" y="1945"/>
                </a:cubicBezTo>
                <a:cubicBezTo>
                  <a:pt x="402" y="1973"/>
                  <a:pt x="288" y="1849"/>
                  <a:pt x="247" y="1712"/>
                </a:cubicBezTo>
                <a:cubicBezTo>
                  <a:pt x="239" y="1687"/>
                  <a:pt x="235" y="1662"/>
                  <a:pt x="230" y="1636"/>
                </a:cubicBezTo>
                <a:lnTo>
                  <a:pt x="709" y="1480"/>
                </a:lnTo>
                <a:close/>
                <a:moveTo>
                  <a:pt x="1685" y="501"/>
                </a:moveTo>
                <a:cubicBezTo>
                  <a:pt x="1677" y="619"/>
                  <a:pt x="1656" y="718"/>
                  <a:pt x="1625" y="813"/>
                </a:cubicBezTo>
                <a:cubicBezTo>
                  <a:pt x="1594" y="908"/>
                  <a:pt x="1553" y="997"/>
                  <a:pt x="1504" y="1098"/>
                </a:cubicBezTo>
                <a:cubicBezTo>
                  <a:pt x="1489" y="1129"/>
                  <a:pt x="1489" y="1129"/>
                  <a:pt x="1489" y="1129"/>
                </a:cubicBezTo>
                <a:cubicBezTo>
                  <a:pt x="982" y="970"/>
                  <a:pt x="982" y="970"/>
                  <a:pt x="982" y="970"/>
                </a:cubicBezTo>
                <a:cubicBezTo>
                  <a:pt x="989" y="935"/>
                  <a:pt x="989" y="935"/>
                  <a:pt x="989" y="935"/>
                </a:cubicBezTo>
                <a:cubicBezTo>
                  <a:pt x="1015" y="801"/>
                  <a:pt x="1011" y="750"/>
                  <a:pt x="999" y="624"/>
                </a:cubicBezTo>
                <a:cubicBezTo>
                  <a:pt x="990" y="517"/>
                  <a:pt x="984" y="412"/>
                  <a:pt x="1013" y="307"/>
                </a:cubicBezTo>
                <a:cubicBezTo>
                  <a:pt x="1053" y="162"/>
                  <a:pt x="1189" y="0"/>
                  <a:pt x="1352" y="10"/>
                </a:cubicBezTo>
                <a:cubicBezTo>
                  <a:pt x="1450" y="17"/>
                  <a:pt x="1530" y="83"/>
                  <a:pt x="1584" y="159"/>
                </a:cubicBezTo>
                <a:cubicBezTo>
                  <a:pt x="1652" y="255"/>
                  <a:pt x="1693" y="385"/>
                  <a:pt x="1685" y="501"/>
                </a:cubicBezTo>
                <a:close/>
                <a:moveTo>
                  <a:pt x="1463" y="1238"/>
                </a:moveTo>
                <a:cubicBezTo>
                  <a:pt x="1456" y="1272"/>
                  <a:pt x="1456" y="1272"/>
                  <a:pt x="1456" y="1272"/>
                </a:cubicBezTo>
                <a:cubicBezTo>
                  <a:pt x="1454" y="1286"/>
                  <a:pt x="1450" y="1300"/>
                  <a:pt x="1446" y="1314"/>
                </a:cubicBezTo>
                <a:cubicBezTo>
                  <a:pt x="1404" y="1451"/>
                  <a:pt x="1291" y="1575"/>
                  <a:pt x="1136" y="1546"/>
                </a:cubicBezTo>
                <a:cubicBezTo>
                  <a:pt x="1126" y="1544"/>
                  <a:pt x="1115" y="1542"/>
                  <a:pt x="1105" y="1539"/>
                </a:cubicBezTo>
                <a:cubicBezTo>
                  <a:pt x="1097" y="1536"/>
                  <a:pt x="1090" y="1534"/>
                  <a:pt x="1082" y="1531"/>
                </a:cubicBezTo>
                <a:cubicBezTo>
                  <a:pt x="895" y="1456"/>
                  <a:pt x="904" y="1323"/>
                  <a:pt x="954" y="1160"/>
                </a:cubicBezTo>
                <a:cubicBezTo>
                  <a:pt x="959" y="1146"/>
                  <a:pt x="964" y="1131"/>
                  <a:pt x="970" y="1117"/>
                </a:cubicBezTo>
                <a:cubicBezTo>
                  <a:pt x="984" y="1082"/>
                  <a:pt x="984" y="1082"/>
                  <a:pt x="984" y="1082"/>
                </a:cubicBezTo>
                <a:lnTo>
                  <a:pt x="1463" y="1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 bwMode="gray">
          <a:xfrm>
            <a:off x="8139518" y="5518973"/>
            <a:ext cx="299628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 Opzoekers zijn zich </a:t>
            </a:r>
            <a:r>
              <a:rPr lang="nl-BE" sz="1400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wust van de meeste van de genoemde risicogedragingen.</a:t>
            </a:r>
          </a:p>
        </p:txBody>
      </p:sp>
      <p:grpSp>
        <p:nvGrpSpPr>
          <p:cNvPr id="99" name="Group 15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262747" y="4988924"/>
            <a:ext cx="231514" cy="234623"/>
            <a:chOff x="423" y="-837"/>
            <a:chExt cx="4914" cy="4980"/>
          </a:xfrm>
          <a:solidFill>
            <a:schemeClr val="tx1"/>
          </a:solidFill>
        </p:grpSpPr>
        <p:sp>
          <p:nvSpPr>
            <p:cNvPr id="100" name="Freeform 16"/>
            <p:cNvSpPr>
              <a:spLocks noEditPoints="1"/>
            </p:cNvSpPr>
            <p:nvPr/>
          </p:nvSpPr>
          <p:spPr bwMode="auto">
            <a:xfrm>
              <a:off x="1302" y="1816"/>
              <a:ext cx="2915" cy="2327"/>
            </a:xfrm>
            <a:custGeom>
              <a:avLst/>
              <a:gdLst>
                <a:gd name="T0" fmla="*/ 748 w 1234"/>
                <a:gd name="T1" fmla="*/ 482 h 985"/>
                <a:gd name="T2" fmla="*/ 748 w 1234"/>
                <a:gd name="T3" fmla="*/ 652 h 985"/>
                <a:gd name="T4" fmla="*/ 721 w 1234"/>
                <a:gd name="T5" fmla="*/ 857 h 985"/>
                <a:gd name="T6" fmla="*/ 448 w 1234"/>
                <a:gd name="T7" fmla="*/ 930 h 985"/>
                <a:gd name="T8" fmla="*/ 375 w 1234"/>
                <a:gd name="T9" fmla="*/ 657 h 985"/>
                <a:gd name="T10" fmla="*/ 539 w 1234"/>
                <a:gd name="T11" fmla="*/ 531 h 985"/>
                <a:gd name="T12" fmla="*/ 686 w 1234"/>
                <a:gd name="T13" fmla="*/ 447 h 985"/>
                <a:gd name="T14" fmla="*/ 753 w 1234"/>
                <a:gd name="T15" fmla="*/ 403 h 985"/>
                <a:gd name="T16" fmla="*/ 748 w 1234"/>
                <a:gd name="T17" fmla="*/ 482 h 985"/>
                <a:gd name="T18" fmla="*/ 428 w 1234"/>
                <a:gd name="T19" fmla="*/ 79 h 985"/>
                <a:gd name="T20" fmla="*/ 428 w 1234"/>
                <a:gd name="T21" fmla="*/ 249 h 985"/>
                <a:gd name="T22" fmla="*/ 401 w 1234"/>
                <a:gd name="T23" fmla="*/ 454 h 985"/>
                <a:gd name="T24" fmla="*/ 128 w 1234"/>
                <a:gd name="T25" fmla="*/ 527 h 985"/>
                <a:gd name="T26" fmla="*/ 55 w 1234"/>
                <a:gd name="T27" fmla="*/ 254 h 985"/>
                <a:gd name="T28" fmla="*/ 219 w 1234"/>
                <a:gd name="T29" fmla="*/ 129 h 985"/>
                <a:gd name="T30" fmla="*/ 366 w 1234"/>
                <a:gd name="T31" fmla="*/ 44 h 985"/>
                <a:gd name="T32" fmla="*/ 433 w 1234"/>
                <a:gd name="T33" fmla="*/ 0 h 985"/>
                <a:gd name="T34" fmla="*/ 428 w 1234"/>
                <a:gd name="T35" fmla="*/ 79 h 985"/>
                <a:gd name="T36" fmla="*/ 1228 w 1234"/>
                <a:gd name="T37" fmla="*/ 82 h 985"/>
                <a:gd name="T38" fmla="*/ 1228 w 1234"/>
                <a:gd name="T39" fmla="*/ 252 h 985"/>
                <a:gd name="T40" fmla="*/ 1201 w 1234"/>
                <a:gd name="T41" fmla="*/ 457 h 985"/>
                <a:gd name="T42" fmla="*/ 928 w 1234"/>
                <a:gd name="T43" fmla="*/ 530 h 985"/>
                <a:gd name="T44" fmla="*/ 855 w 1234"/>
                <a:gd name="T45" fmla="*/ 257 h 985"/>
                <a:gd name="T46" fmla="*/ 1019 w 1234"/>
                <a:gd name="T47" fmla="*/ 131 h 985"/>
                <a:gd name="T48" fmla="*/ 1166 w 1234"/>
                <a:gd name="T49" fmla="*/ 47 h 985"/>
                <a:gd name="T50" fmla="*/ 1233 w 1234"/>
                <a:gd name="T51" fmla="*/ 3 h 985"/>
                <a:gd name="T52" fmla="*/ 1228 w 1234"/>
                <a:gd name="T53" fmla="*/ 82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34" h="985">
                  <a:moveTo>
                    <a:pt x="748" y="482"/>
                  </a:moveTo>
                  <a:cubicBezTo>
                    <a:pt x="744" y="549"/>
                    <a:pt x="746" y="605"/>
                    <a:pt x="748" y="652"/>
                  </a:cubicBezTo>
                  <a:cubicBezTo>
                    <a:pt x="752" y="738"/>
                    <a:pt x="754" y="800"/>
                    <a:pt x="721" y="857"/>
                  </a:cubicBezTo>
                  <a:cubicBezTo>
                    <a:pt x="666" y="953"/>
                    <a:pt x="544" y="985"/>
                    <a:pt x="448" y="930"/>
                  </a:cubicBezTo>
                  <a:cubicBezTo>
                    <a:pt x="352" y="875"/>
                    <a:pt x="320" y="753"/>
                    <a:pt x="375" y="657"/>
                  </a:cubicBezTo>
                  <a:cubicBezTo>
                    <a:pt x="408" y="600"/>
                    <a:pt x="463" y="571"/>
                    <a:pt x="539" y="531"/>
                  </a:cubicBezTo>
                  <a:cubicBezTo>
                    <a:pt x="581" y="509"/>
                    <a:pt x="630" y="483"/>
                    <a:pt x="686" y="447"/>
                  </a:cubicBezTo>
                  <a:cubicBezTo>
                    <a:pt x="753" y="403"/>
                    <a:pt x="753" y="403"/>
                    <a:pt x="753" y="403"/>
                  </a:cubicBezTo>
                  <a:lnTo>
                    <a:pt x="748" y="482"/>
                  </a:lnTo>
                  <a:close/>
                  <a:moveTo>
                    <a:pt x="428" y="79"/>
                  </a:moveTo>
                  <a:cubicBezTo>
                    <a:pt x="424" y="146"/>
                    <a:pt x="426" y="202"/>
                    <a:pt x="428" y="249"/>
                  </a:cubicBezTo>
                  <a:cubicBezTo>
                    <a:pt x="432" y="335"/>
                    <a:pt x="434" y="397"/>
                    <a:pt x="401" y="454"/>
                  </a:cubicBezTo>
                  <a:cubicBezTo>
                    <a:pt x="346" y="550"/>
                    <a:pt x="224" y="583"/>
                    <a:pt x="128" y="527"/>
                  </a:cubicBezTo>
                  <a:cubicBezTo>
                    <a:pt x="32" y="472"/>
                    <a:pt x="0" y="350"/>
                    <a:pt x="55" y="254"/>
                  </a:cubicBezTo>
                  <a:cubicBezTo>
                    <a:pt x="88" y="197"/>
                    <a:pt x="143" y="168"/>
                    <a:pt x="219" y="129"/>
                  </a:cubicBezTo>
                  <a:cubicBezTo>
                    <a:pt x="261" y="107"/>
                    <a:pt x="310" y="81"/>
                    <a:pt x="366" y="44"/>
                  </a:cubicBezTo>
                  <a:cubicBezTo>
                    <a:pt x="433" y="0"/>
                    <a:pt x="433" y="0"/>
                    <a:pt x="433" y="0"/>
                  </a:cubicBezTo>
                  <a:lnTo>
                    <a:pt x="428" y="79"/>
                  </a:lnTo>
                  <a:close/>
                  <a:moveTo>
                    <a:pt x="1228" y="82"/>
                  </a:moveTo>
                  <a:cubicBezTo>
                    <a:pt x="1224" y="149"/>
                    <a:pt x="1226" y="205"/>
                    <a:pt x="1228" y="252"/>
                  </a:cubicBezTo>
                  <a:cubicBezTo>
                    <a:pt x="1232" y="338"/>
                    <a:pt x="1234" y="400"/>
                    <a:pt x="1201" y="457"/>
                  </a:cubicBezTo>
                  <a:cubicBezTo>
                    <a:pt x="1146" y="553"/>
                    <a:pt x="1024" y="585"/>
                    <a:pt x="928" y="530"/>
                  </a:cubicBezTo>
                  <a:cubicBezTo>
                    <a:pt x="832" y="475"/>
                    <a:pt x="800" y="353"/>
                    <a:pt x="855" y="257"/>
                  </a:cubicBezTo>
                  <a:cubicBezTo>
                    <a:pt x="888" y="200"/>
                    <a:pt x="943" y="171"/>
                    <a:pt x="1019" y="131"/>
                  </a:cubicBezTo>
                  <a:cubicBezTo>
                    <a:pt x="1061" y="109"/>
                    <a:pt x="1110" y="83"/>
                    <a:pt x="1166" y="47"/>
                  </a:cubicBezTo>
                  <a:cubicBezTo>
                    <a:pt x="1233" y="3"/>
                    <a:pt x="1233" y="3"/>
                    <a:pt x="1233" y="3"/>
                  </a:cubicBezTo>
                  <a:lnTo>
                    <a:pt x="1228" y="82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Freeform 17"/>
            <p:cNvSpPr>
              <a:spLocks/>
            </p:cNvSpPr>
            <p:nvPr/>
          </p:nvSpPr>
          <p:spPr bwMode="auto">
            <a:xfrm>
              <a:off x="423" y="-837"/>
              <a:ext cx="4914" cy="3402"/>
            </a:xfrm>
            <a:custGeom>
              <a:avLst/>
              <a:gdLst>
                <a:gd name="T0" fmla="*/ 326 w 2080"/>
                <a:gd name="T1" fmla="*/ 1420 h 1440"/>
                <a:gd name="T2" fmla="*/ 0 w 2080"/>
                <a:gd name="T3" fmla="*/ 986 h 1440"/>
                <a:gd name="T4" fmla="*/ 307 w 2080"/>
                <a:gd name="T5" fmla="*/ 555 h 1440"/>
                <a:gd name="T6" fmla="*/ 786 w 2080"/>
                <a:gd name="T7" fmla="*/ 3 h 1440"/>
                <a:gd name="T8" fmla="*/ 847 w 2080"/>
                <a:gd name="T9" fmla="*/ 0 h 1440"/>
                <a:gd name="T10" fmla="*/ 1292 w 2080"/>
                <a:gd name="T11" fmla="*/ 231 h 1440"/>
                <a:gd name="T12" fmla="*/ 1702 w 2080"/>
                <a:gd name="T13" fmla="*/ 292 h 1440"/>
                <a:gd name="T14" fmla="*/ 1852 w 2080"/>
                <a:gd name="T15" fmla="*/ 714 h 1440"/>
                <a:gd name="T16" fmla="*/ 2080 w 2080"/>
                <a:gd name="T17" fmla="*/ 1062 h 1440"/>
                <a:gd name="T18" fmla="*/ 1696 w 2080"/>
                <a:gd name="T19" fmla="*/ 1440 h 1440"/>
                <a:gd name="T20" fmla="*/ 1682 w 2080"/>
                <a:gd name="T21" fmla="*/ 1440 h 1440"/>
                <a:gd name="T22" fmla="*/ 1680 w 2080"/>
                <a:gd name="T23" fmla="*/ 1372 h 1440"/>
                <a:gd name="T24" fmla="*/ 1680 w 2080"/>
                <a:gd name="T25" fmla="*/ 1210 h 1440"/>
                <a:gd name="T26" fmla="*/ 1684 w 2080"/>
                <a:gd name="T27" fmla="*/ 1130 h 1440"/>
                <a:gd name="T28" fmla="*/ 1645 w 2080"/>
                <a:gd name="T29" fmla="*/ 1056 h 1440"/>
                <a:gd name="T30" fmla="*/ 1560 w 2080"/>
                <a:gd name="T31" fmla="*/ 1059 h 1440"/>
                <a:gd name="T32" fmla="*/ 1494 w 2080"/>
                <a:gd name="T33" fmla="*/ 1103 h 1440"/>
                <a:gd name="T34" fmla="*/ 1354 w 2080"/>
                <a:gd name="T35" fmla="*/ 1184 h 1440"/>
                <a:gd name="T36" fmla="*/ 1158 w 2080"/>
                <a:gd name="T37" fmla="*/ 1340 h 1440"/>
                <a:gd name="T38" fmla="*/ 1123 w 2080"/>
                <a:gd name="T39" fmla="*/ 1440 h 1440"/>
                <a:gd name="T40" fmla="*/ 882 w 2080"/>
                <a:gd name="T41" fmla="*/ 1440 h 1440"/>
                <a:gd name="T42" fmla="*/ 880 w 2080"/>
                <a:gd name="T43" fmla="*/ 1369 h 1440"/>
                <a:gd name="T44" fmla="*/ 880 w 2080"/>
                <a:gd name="T45" fmla="*/ 1207 h 1440"/>
                <a:gd name="T46" fmla="*/ 884 w 2080"/>
                <a:gd name="T47" fmla="*/ 1128 h 1440"/>
                <a:gd name="T48" fmla="*/ 845 w 2080"/>
                <a:gd name="T49" fmla="*/ 1054 h 1440"/>
                <a:gd name="T50" fmla="*/ 760 w 2080"/>
                <a:gd name="T51" fmla="*/ 1056 h 1440"/>
                <a:gd name="T52" fmla="*/ 694 w 2080"/>
                <a:gd name="T53" fmla="*/ 1100 h 1440"/>
                <a:gd name="T54" fmla="*/ 554 w 2080"/>
                <a:gd name="T55" fmla="*/ 1180 h 1440"/>
                <a:gd name="T56" fmla="*/ 358 w 2080"/>
                <a:gd name="T57" fmla="*/ 1337 h 1440"/>
                <a:gd name="T58" fmla="*/ 326 w 2080"/>
                <a:gd name="T59" fmla="*/ 142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0" h="1440">
                  <a:moveTo>
                    <a:pt x="326" y="1420"/>
                  </a:moveTo>
                  <a:cubicBezTo>
                    <a:pt x="139" y="1363"/>
                    <a:pt x="0" y="1192"/>
                    <a:pt x="0" y="986"/>
                  </a:cubicBezTo>
                  <a:cubicBezTo>
                    <a:pt x="0" y="777"/>
                    <a:pt x="111" y="625"/>
                    <a:pt x="307" y="555"/>
                  </a:cubicBezTo>
                  <a:cubicBezTo>
                    <a:pt x="293" y="260"/>
                    <a:pt x="493" y="30"/>
                    <a:pt x="786" y="3"/>
                  </a:cubicBezTo>
                  <a:cubicBezTo>
                    <a:pt x="807" y="1"/>
                    <a:pt x="828" y="0"/>
                    <a:pt x="847" y="0"/>
                  </a:cubicBezTo>
                  <a:cubicBezTo>
                    <a:pt x="1040" y="0"/>
                    <a:pt x="1175" y="84"/>
                    <a:pt x="1292" y="231"/>
                  </a:cubicBezTo>
                  <a:cubicBezTo>
                    <a:pt x="1430" y="183"/>
                    <a:pt x="1586" y="200"/>
                    <a:pt x="1702" y="292"/>
                  </a:cubicBezTo>
                  <a:cubicBezTo>
                    <a:pt x="1832" y="394"/>
                    <a:pt x="1875" y="555"/>
                    <a:pt x="1852" y="714"/>
                  </a:cubicBezTo>
                  <a:cubicBezTo>
                    <a:pt x="2003" y="784"/>
                    <a:pt x="2080" y="894"/>
                    <a:pt x="2080" y="1062"/>
                  </a:cubicBezTo>
                  <a:cubicBezTo>
                    <a:pt x="2080" y="1273"/>
                    <a:pt x="1905" y="1440"/>
                    <a:pt x="1696" y="1440"/>
                  </a:cubicBezTo>
                  <a:cubicBezTo>
                    <a:pt x="1682" y="1440"/>
                    <a:pt x="1682" y="1440"/>
                    <a:pt x="1682" y="1440"/>
                  </a:cubicBezTo>
                  <a:cubicBezTo>
                    <a:pt x="1682" y="1418"/>
                    <a:pt x="1681" y="1395"/>
                    <a:pt x="1680" y="1372"/>
                  </a:cubicBezTo>
                  <a:cubicBezTo>
                    <a:pt x="1678" y="1318"/>
                    <a:pt x="1676" y="1264"/>
                    <a:pt x="1680" y="1210"/>
                  </a:cubicBezTo>
                  <a:cubicBezTo>
                    <a:pt x="1684" y="1130"/>
                    <a:pt x="1684" y="1130"/>
                    <a:pt x="1684" y="1130"/>
                  </a:cubicBezTo>
                  <a:cubicBezTo>
                    <a:pt x="1686" y="1099"/>
                    <a:pt x="1672" y="1072"/>
                    <a:pt x="1645" y="1056"/>
                  </a:cubicBezTo>
                  <a:cubicBezTo>
                    <a:pt x="1618" y="1041"/>
                    <a:pt x="1586" y="1042"/>
                    <a:pt x="1560" y="1059"/>
                  </a:cubicBezTo>
                  <a:cubicBezTo>
                    <a:pt x="1494" y="1103"/>
                    <a:pt x="1494" y="1103"/>
                    <a:pt x="1494" y="1103"/>
                  </a:cubicBezTo>
                  <a:cubicBezTo>
                    <a:pt x="1448" y="1133"/>
                    <a:pt x="1402" y="1158"/>
                    <a:pt x="1354" y="1184"/>
                  </a:cubicBezTo>
                  <a:cubicBezTo>
                    <a:pt x="1276" y="1224"/>
                    <a:pt x="1203" y="1262"/>
                    <a:pt x="1158" y="1340"/>
                  </a:cubicBezTo>
                  <a:cubicBezTo>
                    <a:pt x="1139" y="1372"/>
                    <a:pt x="1128" y="1406"/>
                    <a:pt x="1123" y="1440"/>
                  </a:cubicBezTo>
                  <a:cubicBezTo>
                    <a:pt x="882" y="1440"/>
                    <a:pt x="882" y="1440"/>
                    <a:pt x="882" y="1440"/>
                  </a:cubicBezTo>
                  <a:cubicBezTo>
                    <a:pt x="882" y="1417"/>
                    <a:pt x="881" y="1393"/>
                    <a:pt x="880" y="1369"/>
                  </a:cubicBezTo>
                  <a:cubicBezTo>
                    <a:pt x="878" y="1315"/>
                    <a:pt x="876" y="1262"/>
                    <a:pt x="880" y="1207"/>
                  </a:cubicBezTo>
                  <a:cubicBezTo>
                    <a:pt x="884" y="1128"/>
                    <a:pt x="884" y="1128"/>
                    <a:pt x="884" y="1128"/>
                  </a:cubicBezTo>
                  <a:cubicBezTo>
                    <a:pt x="886" y="1096"/>
                    <a:pt x="872" y="1069"/>
                    <a:pt x="845" y="1054"/>
                  </a:cubicBezTo>
                  <a:cubicBezTo>
                    <a:pt x="818" y="1038"/>
                    <a:pt x="786" y="1039"/>
                    <a:pt x="760" y="1056"/>
                  </a:cubicBezTo>
                  <a:cubicBezTo>
                    <a:pt x="694" y="1100"/>
                    <a:pt x="694" y="1100"/>
                    <a:pt x="694" y="1100"/>
                  </a:cubicBezTo>
                  <a:cubicBezTo>
                    <a:pt x="648" y="1130"/>
                    <a:pt x="602" y="1155"/>
                    <a:pt x="554" y="1180"/>
                  </a:cubicBezTo>
                  <a:cubicBezTo>
                    <a:pt x="476" y="1221"/>
                    <a:pt x="403" y="1258"/>
                    <a:pt x="358" y="1337"/>
                  </a:cubicBezTo>
                  <a:cubicBezTo>
                    <a:pt x="342" y="1364"/>
                    <a:pt x="332" y="1392"/>
                    <a:pt x="326" y="142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2" name="Group 22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264572" y="4142475"/>
            <a:ext cx="227864" cy="227953"/>
            <a:chOff x="331" y="-931"/>
            <a:chExt cx="5102" cy="5104"/>
          </a:xfrm>
          <a:solidFill>
            <a:schemeClr val="tx1"/>
          </a:solidFill>
        </p:grpSpPr>
        <p:sp>
          <p:nvSpPr>
            <p:cNvPr id="103" name="Freeform 23"/>
            <p:cNvSpPr>
              <a:spLocks/>
            </p:cNvSpPr>
            <p:nvPr/>
          </p:nvSpPr>
          <p:spPr bwMode="auto">
            <a:xfrm>
              <a:off x="2585" y="-931"/>
              <a:ext cx="2848" cy="4349"/>
            </a:xfrm>
            <a:custGeom>
              <a:avLst/>
              <a:gdLst>
                <a:gd name="T0" fmla="*/ 19 w 1206"/>
                <a:gd name="T1" fmla="*/ 558 h 1841"/>
                <a:gd name="T2" fmla="*/ 6 w 1206"/>
                <a:gd name="T3" fmla="*/ 348 h 1841"/>
                <a:gd name="T4" fmla="*/ 10 w 1206"/>
                <a:gd name="T5" fmla="*/ 286 h 1841"/>
                <a:gd name="T6" fmla="*/ 141 w 1206"/>
                <a:gd name="T7" fmla="*/ 78 h 1841"/>
                <a:gd name="T8" fmla="*/ 376 w 1206"/>
                <a:gd name="T9" fmla="*/ 2 h 1841"/>
                <a:gd name="T10" fmla="*/ 566 w 1206"/>
                <a:gd name="T11" fmla="*/ 49 h 1841"/>
                <a:gd name="T12" fmla="*/ 661 w 1206"/>
                <a:gd name="T13" fmla="*/ 37 h 1841"/>
                <a:gd name="T14" fmla="*/ 898 w 1206"/>
                <a:gd name="T15" fmla="*/ 212 h 1841"/>
                <a:gd name="T16" fmla="*/ 926 w 1206"/>
                <a:gd name="T17" fmla="*/ 346 h 1841"/>
                <a:gd name="T18" fmla="*/ 912 w 1206"/>
                <a:gd name="T19" fmla="*/ 558 h 1841"/>
                <a:gd name="T20" fmla="*/ 837 w 1206"/>
                <a:gd name="T21" fmla="*/ 772 h 1841"/>
                <a:gd name="T22" fmla="*/ 716 w 1206"/>
                <a:gd name="T23" fmla="*/ 1010 h 1841"/>
                <a:gd name="T24" fmla="*/ 726 w 1206"/>
                <a:gd name="T25" fmla="*/ 1102 h 1841"/>
                <a:gd name="T26" fmla="*/ 766 w 1206"/>
                <a:gd name="T27" fmla="*/ 1170 h 1841"/>
                <a:gd name="T28" fmla="*/ 874 w 1206"/>
                <a:gd name="T29" fmla="*/ 1216 h 1841"/>
                <a:gd name="T30" fmla="*/ 1083 w 1206"/>
                <a:gd name="T31" fmla="*/ 1313 h 1841"/>
                <a:gd name="T32" fmla="*/ 1173 w 1206"/>
                <a:gd name="T33" fmla="*/ 1450 h 1841"/>
                <a:gd name="T34" fmla="*/ 1206 w 1206"/>
                <a:gd name="T35" fmla="*/ 1619 h 1841"/>
                <a:gd name="T36" fmla="*/ 990 w 1206"/>
                <a:gd name="T37" fmla="*/ 1786 h 1841"/>
                <a:gd name="T38" fmla="*/ 466 w 1206"/>
                <a:gd name="T39" fmla="*/ 1841 h 1841"/>
                <a:gd name="T40" fmla="*/ 86 w 1206"/>
                <a:gd name="T41" fmla="*/ 1814 h 1841"/>
                <a:gd name="T42" fmla="*/ 86 w 1206"/>
                <a:gd name="T43" fmla="*/ 1208 h 1841"/>
                <a:gd name="T44" fmla="*/ 205 w 1206"/>
                <a:gd name="T45" fmla="*/ 1102 h 1841"/>
                <a:gd name="T46" fmla="*/ 216 w 1206"/>
                <a:gd name="T47" fmla="*/ 1010 h 1841"/>
                <a:gd name="T48" fmla="*/ 94 w 1206"/>
                <a:gd name="T49" fmla="*/ 772 h 1841"/>
                <a:gd name="T50" fmla="*/ 19 w 1206"/>
                <a:gd name="T51" fmla="*/ 558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6" h="1841">
                  <a:moveTo>
                    <a:pt x="19" y="558"/>
                  </a:moveTo>
                  <a:cubicBezTo>
                    <a:pt x="15" y="490"/>
                    <a:pt x="6" y="415"/>
                    <a:pt x="6" y="348"/>
                  </a:cubicBezTo>
                  <a:cubicBezTo>
                    <a:pt x="5" y="326"/>
                    <a:pt x="6" y="306"/>
                    <a:pt x="10" y="286"/>
                  </a:cubicBezTo>
                  <a:cubicBezTo>
                    <a:pt x="24" y="197"/>
                    <a:pt x="74" y="126"/>
                    <a:pt x="141" y="78"/>
                  </a:cubicBezTo>
                  <a:cubicBezTo>
                    <a:pt x="207" y="30"/>
                    <a:pt x="291" y="3"/>
                    <a:pt x="376" y="2"/>
                  </a:cubicBezTo>
                  <a:cubicBezTo>
                    <a:pt x="447" y="0"/>
                    <a:pt x="505" y="12"/>
                    <a:pt x="566" y="49"/>
                  </a:cubicBezTo>
                  <a:cubicBezTo>
                    <a:pt x="597" y="37"/>
                    <a:pt x="629" y="34"/>
                    <a:pt x="661" y="37"/>
                  </a:cubicBezTo>
                  <a:cubicBezTo>
                    <a:pt x="762" y="46"/>
                    <a:pt x="854" y="122"/>
                    <a:pt x="898" y="212"/>
                  </a:cubicBezTo>
                  <a:cubicBezTo>
                    <a:pt x="919" y="254"/>
                    <a:pt x="930" y="301"/>
                    <a:pt x="926" y="346"/>
                  </a:cubicBezTo>
                  <a:cubicBezTo>
                    <a:pt x="912" y="558"/>
                    <a:pt x="912" y="558"/>
                    <a:pt x="912" y="558"/>
                  </a:cubicBezTo>
                  <a:cubicBezTo>
                    <a:pt x="932" y="636"/>
                    <a:pt x="906" y="727"/>
                    <a:pt x="837" y="772"/>
                  </a:cubicBezTo>
                  <a:cubicBezTo>
                    <a:pt x="814" y="849"/>
                    <a:pt x="770" y="949"/>
                    <a:pt x="716" y="1010"/>
                  </a:cubicBezTo>
                  <a:cubicBezTo>
                    <a:pt x="717" y="1038"/>
                    <a:pt x="719" y="1072"/>
                    <a:pt x="726" y="1102"/>
                  </a:cubicBezTo>
                  <a:cubicBezTo>
                    <a:pt x="733" y="1132"/>
                    <a:pt x="745" y="1159"/>
                    <a:pt x="766" y="1170"/>
                  </a:cubicBezTo>
                  <a:cubicBezTo>
                    <a:pt x="802" y="1194"/>
                    <a:pt x="833" y="1204"/>
                    <a:pt x="874" y="1216"/>
                  </a:cubicBezTo>
                  <a:cubicBezTo>
                    <a:pt x="940" y="1236"/>
                    <a:pt x="1037" y="1268"/>
                    <a:pt x="1083" y="1313"/>
                  </a:cubicBezTo>
                  <a:cubicBezTo>
                    <a:pt x="1122" y="1351"/>
                    <a:pt x="1152" y="1399"/>
                    <a:pt x="1173" y="1450"/>
                  </a:cubicBezTo>
                  <a:cubicBezTo>
                    <a:pt x="1194" y="1505"/>
                    <a:pt x="1206" y="1563"/>
                    <a:pt x="1206" y="1619"/>
                  </a:cubicBezTo>
                  <a:cubicBezTo>
                    <a:pt x="1206" y="1700"/>
                    <a:pt x="1115" y="1753"/>
                    <a:pt x="990" y="1786"/>
                  </a:cubicBezTo>
                  <a:cubicBezTo>
                    <a:pt x="827" y="1828"/>
                    <a:pt x="600" y="1841"/>
                    <a:pt x="466" y="1841"/>
                  </a:cubicBezTo>
                  <a:cubicBezTo>
                    <a:pt x="368" y="1841"/>
                    <a:pt x="221" y="1834"/>
                    <a:pt x="86" y="1814"/>
                  </a:cubicBezTo>
                  <a:cubicBezTo>
                    <a:pt x="86" y="1208"/>
                    <a:pt x="86" y="1208"/>
                    <a:pt x="86" y="1208"/>
                  </a:cubicBezTo>
                  <a:cubicBezTo>
                    <a:pt x="150" y="1187"/>
                    <a:pt x="188" y="1171"/>
                    <a:pt x="205" y="1102"/>
                  </a:cubicBezTo>
                  <a:cubicBezTo>
                    <a:pt x="212" y="1072"/>
                    <a:pt x="215" y="1038"/>
                    <a:pt x="216" y="1010"/>
                  </a:cubicBezTo>
                  <a:cubicBezTo>
                    <a:pt x="162" y="950"/>
                    <a:pt x="118" y="849"/>
                    <a:pt x="94" y="772"/>
                  </a:cubicBezTo>
                  <a:cubicBezTo>
                    <a:pt x="26" y="727"/>
                    <a:pt x="0" y="636"/>
                    <a:pt x="19" y="5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24"/>
            <p:cNvSpPr>
              <a:spLocks noEditPoints="1"/>
            </p:cNvSpPr>
            <p:nvPr/>
          </p:nvSpPr>
          <p:spPr bwMode="auto">
            <a:xfrm>
              <a:off x="331" y="772"/>
              <a:ext cx="2268" cy="3401"/>
            </a:xfrm>
            <a:custGeom>
              <a:avLst/>
              <a:gdLst>
                <a:gd name="T0" fmla="*/ 141 w 960"/>
                <a:gd name="T1" fmla="*/ 0 h 1440"/>
                <a:gd name="T2" fmla="*/ 818 w 960"/>
                <a:gd name="T3" fmla="*/ 0 h 1440"/>
                <a:gd name="T4" fmla="*/ 960 w 960"/>
                <a:gd name="T5" fmla="*/ 142 h 1440"/>
                <a:gd name="T6" fmla="*/ 960 w 960"/>
                <a:gd name="T7" fmla="*/ 1299 h 1440"/>
                <a:gd name="T8" fmla="*/ 818 w 960"/>
                <a:gd name="T9" fmla="*/ 1440 h 1440"/>
                <a:gd name="T10" fmla="*/ 141 w 960"/>
                <a:gd name="T11" fmla="*/ 1440 h 1440"/>
                <a:gd name="T12" fmla="*/ 0 w 960"/>
                <a:gd name="T13" fmla="*/ 1299 h 1440"/>
                <a:gd name="T14" fmla="*/ 0 w 960"/>
                <a:gd name="T15" fmla="*/ 142 h 1440"/>
                <a:gd name="T16" fmla="*/ 141 w 960"/>
                <a:gd name="T17" fmla="*/ 0 h 1440"/>
                <a:gd name="T18" fmla="*/ 400 w 960"/>
                <a:gd name="T19" fmla="*/ 200 h 1440"/>
                <a:gd name="T20" fmla="*/ 560 w 960"/>
                <a:gd name="T21" fmla="*/ 200 h 1440"/>
                <a:gd name="T22" fmla="*/ 600 w 960"/>
                <a:gd name="T23" fmla="*/ 160 h 1440"/>
                <a:gd name="T24" fmla="*/ 560 w 960"/>
                <a:gd name="T25" fmla="*/ 120 h 1440"/>
                <a:gd name="T26" fmla="*/ 400 w 960"/>
                <a:gd name="T27" fmla="*/ 120 h 1440"/>
                <a:gd name="T28" fmla="*/ 360 w 960"/>
                <a:gd name="T29" fmla="*/ 160 h 1440"/>
                <a:gd name="T30" fmla="*/ 400 w 960"/>
                <a:gd name="T31" fmla="*/ 200 h 1440"/>
                <a:gd name="T32" fmla="*/ 480 w 960"/>
                <a:gd name="T33" fmla="*/ 1160 h 1440"/>
                <a:gd name="T34" fmla="*/ 400 w 960"/>
                <a:gd name="T35" fmla="*/ 1240 h 1440"/>
                <a:gd name="T36" fmla="*/ 480 w 960"/>
                <a:gd name="T37" fmla="*/ 1320 h 1440"/>
                <a:gd name="T38" fmla="*/ 560 w 960"/>
                <a:gd name="T39" fmla="*/ 1240 h 1440"/>
                <a:gd name="T40" fmla="*/ 480 w 960"/>
                <a:gd name="T41" fmla="*/ 1160 h 1440"/>
                <a:gd name="T42" fmla="*/ 800 w 960"/>
                <a:gd name="T43" fmla="*/ 240 h 1440"/>
                <a:gd name="T44" fmla="*/ 160 w 960"/>
                <a:gd name="T45" fmla="*/ 240 h 1440"/>
                <a:gd name="T46" fmla="*/ 160 w 960"/>
                <a:gd name="T47" fmla="*/ 1120 h 1440"/>
                <a:gd name="T48" fmla="*/ 800 w 960"/>
                <a:gd name="T49" fmla="*/ 1120 h 1440"/>
                <a:gd name="T50" fmla="*/ 800 w 960"/>
                <a:gd name="T51" fmla="*/ 2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0" h="1440">
                  <a:moveTo>
                    <a:pt x="141" y="0"/>
                  </a:moveTo>
                  <a:cubicBezTo>
                    <a:pt x="818" y="0"/>
                    <a:pt x="818" y="0"/>
                    <a:pt x="818" y="0"/>
                  </a:cubicBezTo>
                  <a:cubicBezTo>
                    <a:pt x="896" y="0"/>
                    <a:pt x="960" y="64"/>
                    <a:pt x="960" y="142"/>
                  </a:cubicBezTo>
                  <a:cubicBezTo>
                    <a:pt x="960" y="1299"/>
                    <a:pt x="960" y="1299"/>
                    <a:pt x="960" y="1299"/>
                  </a:cubicBezTo>
                  <a:cubicBezTo>
                    <a:pt x="960" y="1376"/>
                    <a:pt x="896" y="1440"/>
                    <a:pt x="818" y="1440"/>
                  </a:cubicBezTo>
                  <a:cubicBezTo>
                    <a:pt x="141" y="1440"/>
                    <a:pt x="141" y="1440"/>
                    <a:pt x="141" y="1440"/>
                  </a:cubicBezTo>
                  <a:cubicBezTo>
                    <a:pt x="64" y="1440"/>
                    <a:pt x="0" y="1376"/>
                    <a:pt x="0" y="1299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64"/>
                    <a:pt x="63" y="0"/>
                    <a:pt x="141" y="0"/>
                  </a:cubicBezTo>
                  <a:close/>
                  <a:moveTo>
                    <a:pt x="400" y="200"/>
                  </a:moveTo>
                  <a:cubicBezTo>
                    <a:pt x="560" y="200"/>
                    <a:pt x="560" y="200"/>
                    <a:pt x="560" y="200"/>
                  </a:cubicBezTo>
                  <a:cubicBezTo>
                    <a:pt x="582" y="200"/>
                    <a:pt x="600" y="182"/>
                    <a:pt x="600" y="160"/>
                  </a:cubicBezTo>
                  <a:cubicBezTo>
                    <a:pt x="600" y="138"/>
                    <a:pt x="582" y="120"/>
                    <a:pt x="560" y="120"/>
                  </a:cubicBezTo>
                  <a:cubicBezTo>
                    <a:pt x="400" y="120"/>
                    <a:pt x="400" y="120"/>
                    <a:pt x="400" y="120"/>
                  </a:cubicBezTo>
                  <a:cubicBezTo>
                    <a:pt x="378" y="120"/>
                    <a:pt x="360" y="138"/>
                    <a:pt x="360" y="160"/>
                  </a:cubicBezTo>
                  <a:cubicBezTo>
                    <a:pt x="360" y="182"/>
                    <a:pt x="378" y="200"/>
                    <a:pt x="400" y="200"/>
                  </a:cubicBezTo>
                  <a:close/>
                  <a:moveTo>
                    <a:pt x="480" y="1160"/>
                  </a:moveTo>
                  <a:cubicBezTo>
                    <a:pt x="436" y="1160"/>
                    <a:pt x="400" y="1196"/>
                    <a:pt x="400" y="1240"/>
                  </a:cubicBezTo>
                  <a:cubicBezTo>
                    <a:pt x="400" y="1284"/>
                    <a:pt x="436" y="1320"/>
                    <a:pt x="480" y="1320"/>
                  </a:cubicBezTo>
                  <a:cubicBezTo>
                    <a:pt x="524" y="1320"/>
                    <a:pt x="560" y="1284"/>
                    <a:pt x="560" y="1240"/>
                  </a:cubicBezTo>
                  <a:cubicBezTo>
                    <a:pt x="560" y="1196"/>
                    <a:pt x="524" y="1160"/>
                    <a:pt x="480" y="1160"/>
                  </a:cubicBezTo>
                  <a:close/>
                  <a:moveTo>
                    <a:pt x="800" y="240"/>
                  </a:moveTo>
                  <a:cubicBezTo>
                    <a:pt x="160" y="240"/>
                    <a:pt x="160" y="240"/>
                    <a:pt x="160" y="240"/>
                  </a:cubicBezTo>
                  <a:cubicBezTo>
                    <a:pt x="160" y="1120"/>
                    <a:pt x="160" y="1120"/>
                    <a:pt x="160" y="1120"/>
                  </a:cubicBezTo>
                  <a:cubicBezTo>
                    <a:pt x="800" y="1120"/>
                    <a:pt x="800" y="1120"/>
                    <a:pt x="800" y="1120"/>
                  </a:cubicBezTo>
                  <a:lnTo>
                    <a:pt x="80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5" name="Group 39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8276112" y="4561849"/>
            <a:ext cx="204784" cy="213224"/>
            <a:chOff x="612" y="-742"/>
            <a:chExt cx="4537" cy="4724"/>
          </a:xfrm>
          <a:solidFill>
            <a:schemeClr val="tx1"/>
          </a:solidFill>
        </p:grpSpPr>
        <p:sp>
          <p:nvSpPr>
            <p:cNvPr id="106" name="Freeform 40"/>
            <p:cNvSpPr>
              <a:spLocks/>
            </p:cNvSpPr>
            <p:nvPr/>
          </p:nvSpPr>
          <p:spPr bwMode="auto">
            <a:xfrm>
              <a:off x="612" y="-742"/>
              <a:ext cx="2487" cy="2697"/>
            </a:xfrm>
            <a:custGeom>
              <a:avLst/>
              <a:gdLst>
                <a:gd name="T0" fmla="*/ 188 w 1053"/>
                <a:gd name="T1" fmla="*/ 825 h 1142"/>
                <a:gd name="T2" fmla="*/ 0 w 1053"/>
                <a:gd name="T3" fmla="*/ 478 h 1142"/>
                <a:gd name="T4" fmla="*/ 600 w 1053"/>
                <a:gd name="T5" fmla="*/ 0 h 1142"/>
                <a:gd name="T6" fmla="*/ 1053 w 1053"/>
                <a:gd name="T7" fmla="*/ 165 h 1142"/>
                <a:gd name="T8" fmla="*/ 837 w 1053"/>
                <a:gd name="T9" fmla="*/ 249 h 1142"/>
                <a:gd name="T10" fmla="*/ 677 w 1053"/>
                <a:gd name="T11" fmla="*/ 503 h 1142"/>
                <a:gd name="T12" fmla="*/ 672 w 1053"/>
                <a:gd name="T13" fmla="*/ 579 h 1142"/>
                <a:gd name="T14" fmla="*/ 684 w 1053"/>
                <a:gd name="T15" fmla="*/ 767 h 1142"/>
                <a:gd name="T16" fmla="*/ 698 w 1053"/>
                <a:gd name="T17" fmla="*/ 924 h 1142"/>
                <a:gd name="T18" fmla="*/ 710 w 1053"/>
                <a:gd name="T19" fmla="*/ 950 h 1142"/>
                <a:gd name="T20" fmla="*/ 600 w 1053"/>
                <a:gd name="T21" fmla="*/ 959 h 1142"/>
                <a:gd name="T22" fmla="*/ 484 w 1053"/>
                <a:gd name="T23" fmla="*/ 989 h 1142"/>
                <a:gd name="T24" fmla="*/ 482 w 1053"/>
                <a:gd name="T25" fmla="*/ 1071 h 1142"/>
                <a:gd name="T26" fmla="*/ 499 w 1053"/>
                <a:gd name="T27" fmla="*/ 1142 h 1142"/>
                <a:gd name="T28" fmla="*/ 430 w 1053"/>
                <a:gd name="T29" fmla="*/ 1118 h 1142"/>
                <a:gd name="T30" fmla="*/ 188 w 1053"/>
                <a:gd name="T31" fmla="*/ 825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3" h="1142">
                  <a:moveTo>
                    <a:pt x="188" y="825"/>
                  </a:moveTo>
                  <a:cubicBezTo>
                    <a:pt x="76" y="742"/>
                    <a:pt x="0" y="620"/>
                    <a:pt x="0" y="478"/>
                  </a:cubicBezTo>
                  <a:cubicBezTo>
                    <a:pt x="0" y="171"/>
                    <a:pt x="326" y="0"/>
                    <a:pt x="600" y="0"/>
                  </a:cubicBezTo>
                  <a:cubicBezTo>
                    <a:pt x="763" y="0"/>
                    <a:pt x="931" y="54"/>
                    <a:pt x="1053" y="165"/>
                  </a:cubicBezTo>
                  <a:cubicBezTo>
                    <a:pt x="974" y="176"/>
                    <a:pt x="899" y="205"/>
                    <a:pt x="837" y="249"/>
                  </a:cubicBezTo>
                  <a:cubicBezTo>
                    <a:pt x="754" y="308"/>
                    <a:pt x="694" y="394"/>
                    <a:pt x="677" y="503"/>
                  </a:cubicBezTo>
                  <a:cubicBezTo>
                    <a:pt x="673" y="527"/>
                    <a:pt x="671" y="555"/>
                    <a:pt x="672" y="579"/>
                  </a:cubicBezTo>
                  <a:cubicBezTo>
                    <a:pt x="684" y="767"/>
                    <a:pt x="684" y="767"/>
                    <a:pt x="684" y="767"/>
                  </a:cubicBezTo>
                  <a:cubicBezTo>
                    <a:pt x="674" y="819"/>
                    <a:pt x="679" y="875"/>
                    <a:pt x="698" y="924"/>
                  </a:cubicBezTo>
                  <a:cubicBezTo>
                    <a:pt x="701" y="933"/>
                    <a:pt x="705" y="942"/>
                    <a:pt x="710" y="950"/>
                  </a:cubicBezTo>
                  <a:cubicBezTo>
                    <a:pt x="674" y="956"/>
                    <a:pt x="637" y="959"/>
                    <a:pt x="600" y="959"/>
                  </a:cubicBezTo>
                  <a:cubicBezTo>
                    <a:pt x="534" y="959"/>
                    <a:pt x="499" y="970"/>
                    <a:pt x="484" y="989"/>
                  </a:cubicBezTo>
                  <a:cubicBezTo>
                    <a:pt x="471" y="1006"/>
                    <a:pt x="473" y="1035"/>
                    <a:pt x="482" y="1071"/>
                  </a:cubicBezTo>
                  <a:cubicBezTo>
                    <a:pt x="499" y="1142"/>
                    <a:pt x="499" y="1142"/>
                    <a:pt x="499" y="1142"/>
                  </a:cubicBezTo>
                  <a:cubicBezTo>
                    <a:pt x="430" y="1118"/>
                    <a:pt x="430" y="1118"/>
                    <a:pt x="430" y="1118"/>
                  </a:cubicBezTo>
                  <a:cubicBezTo>
                    <a:pt x="304" y="1075"/>
                    <a:pt x="199" y="961"/>
                    <a:pt x="188" y="82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41"/>
            <p:cNvSpPr>
              <a:spLocks/>
            </p:cNvSpPr>
            <p:nvPr/>
          </p:nvSpPr>
          <p:spPr bwMode="auto">
            <a:xfrm>
              <a:off x="1746" y="-178"/>
              <a:ext cx="3403" cy="4160"/>
            </a:xfrm>
            <a:custGeom>
              <a:avLst/>
              <a:gdLst>
                <a:gd name="T0" fmla="*/ 285 w 1441"/>
                <a:gd name="T1" fmla="*/ 534 h 1761"/>
                <a:gd name="T2" fmla="*/ 272 w 1441"/>
                <a:gd name="T3" fmla="*/ 336 h 1761"/>
                <a:gd name="T4" fmla="*/ 276 w 1441"/>
                <a:gd name="T5" fmla="*/ 277 h 1761"/>
                <a:gd name="T6" fmla="*/ 404 w 1441"/>
                <a:gd name="T7" fmla="*/ 75 h 1761"/>
                <a:gd name="T8" fmla="*/ 633 w 1441"/>
                <a:gd name="T9" fmla="*/ 2 h 1761"/>
                <a:gd name="T10" fmla="*/ 817 w 1441"/>
                <a:gd name="T11" fmla="*/ 47 h 1761"/>
                <a:gd name="T12" fmla="*/ 911 w 1441"/>
                <a:gd name="T13" fmla="*/ 35 h 1761"/>
                <a:gd name="T14" fmla="*/ 1144 w 1441"/>
                <a:gd name="T15" fmla="*/ 207 h 1761"/>
                <a:gd name="T16" fmla="*/ 1169 w 1441"/>
                <a:gd name="T17" fmla="*/ 333 h 1761"/>
                <a:gd name="T18" fmla="*/ 1156 w 1441"/>
                <a:gd name="T19" fmla="*/ 534 h 1761"/>
                <a:gd name="T20" fmla="*/ 1082 w 1441"/>
                <a:gd name="T21" fmla="*/ 740 h 1761"/>
                <a:gd name="T22" fmla="*/ 965 w 1441"/>
                <a:gd name="T23" fmla="*/ 967 h 1761"/>
                <a:gd name="T24" fmla="*/ 975 w 1441"/>
                <a:gd name="T25" fmla="*/ 1053 h 1761"/>
                <a:gd name="T26" fmla="*/ 1012 w 1441"/>
                <a:gd name="T27" fmla="*/ 1118 h 1761"/>
                <a:gd name="T28" fmla="*/ 1118 w 1441"/>
                <a:gd name="T29" fmla="*/ 1161 h 1761"/>
                <a:gd name="T30" fmla="*/ 1321 w 1441"/>
                <a:gd name="T31" fmla="*/ 1253 h 1761"/>
                <a:gd name="T32" fmla="*/ 1409 w 1441"/>
                <a:gd name="T33" fmla="*/ 1385 h 1761"/>
                <a:gd name="T34" fmla="*/ 1441 w 1441"/>
                <a:gd name="T35" fmla="*/ 1547 h 1761"/>
                <a:gd name="T36" fmla="*/ 1230 w 1441"/>
                <a:gd name="T37" fmla="*/ 1708 h 1761"/>
                <a:gd name="T38" fmla="*/ 720 w 1441"/>
                <a:gd name="T39" fmla="*/ 1761 h 1761"/>
                <a:gd name="T40" fmla="*/ 210 w 1441"/>
                <a:gd name="T41" fmla="*/ 1708 h 1761"/>
                <a:gd name="T42" fmla="*/ 0 w 1441"/>
                <a:gd name="T43" fmla="*/ 1547 h 1761"/>
                <a:gd name="T44" fmla="*/ 32 w 1441"/>
                <a:gd name="T45" fmla="*/ 1385 h 1761"/>
                <a:gd name="T46" fmla="*/ 120 w 1441"/>
                <a:gd name="T47" fmla="*/ 1253 h 1761"/>
                <a:gd name="T48" fmla="*/ 323 w 1441"/>
                <a:gd name="T49" fmla="*/ 1161 h 1761"/>
                <a:gd name="T50" fmla="*/ 428 w 1441"/>
                <a:gd name="T51" fmla="*/ 1118 h 1761"/>
                <a:gd name="T52" fmla="*/ 466 w 1441"/>
                <a:gd name="T53" fmla="*/ 1053 h 1761"/>
                <a:gd name="T54" fmla="*/ 476 w 1441"/>
                <a:gd name="T55" fmla="*/ 967 h 1761"/>
                <a:gd name="T56" fmla="*/ 359 w 1441"/>
                <a:gd name="T57" fmla="*/ 740 h 1761"/>
                <a:gd name="T58" fmla="*/ 285 w 1441"/>
                <a:gd name="T59" fmla="*/ 534 h 1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1" h="1761">
                  <a:moveTo>
                    <a:pt x="285" y="534"/>
                  </a:moveTo>
                  <a:cubicBezTo>
                    <a:pt x="272" y="336"/>
                    <a:pt x="272" y="336"/>
                    <a:pt x="272" y="336"/>
                  </a:cubicBezTo>
                  <a:cubicBezTo>
                    <a:pt x="271" y="318"/>
                    <a:pt x="273" y="295"/>
                    <a:pt x="276" y="277"/>
                  </a:cubicBezTo>
                  <a:cubicBezTo>
                    <a:pt x="290" y="190"/>
                    <a:pt x="338" y="122"/>
                    <a:pt x="404" y="75"/>
                  </a:cubicBezTo>
                  <a:cubicBezTo>
                    <a:pt x="468" y="29"/>
                    <a:pt x="550" y="3"/>
                    <a:pt x="633" y="2"/>
                  </a:cubicBezTo>
                  <a:cubicBezTo>
                    <a:pt x="702" y="0"/>
                    <a:pt x="759" y="11"/>
                    <a:pt x="817" y="47"/>
                  </a:cubicBezTo>
                  <a:cubicBezTo>
                    <a:pt x="848" y="36"/>
                    <a:pt x="880" y="32"/>
                    <a:pt x="911" y="35"/>
                  </a:cubicBezTo>
                  <a:cubicBezTo>
                    <a:pt x="1010" y="45"/>
                    <a:pt x="1101" y="118"/>
                    <a:pt x="1144" y="207"/>
                  </a:cubicBezTo>
                  <a:cubicBezTo>
                    <a:pt x="1163" y="247"/>
                    <a:pt x="1172" y="290"/>
                    <a:pt x="1169" y="333"/>
                  </a:cubicBezTo>
                  <a:cubicBezTo>
                    <a:pt x="1156" y="534"/>
                    <a:pt x="1156" y="534"/>
                    <a:pt x="1156" y="534"/>
                  </a:cubicBezTo>
                  <a:cubicBezTo>
                    <a:pt x="1175" y="610"/>
                    <a:pt x="1149" y="697"/>
                    <a:pt x="1082" y="740"/>
                  </a:cubicBezTo>
                  <a:cubicBezTo>
                    <a:pt x="1059" y="814"/>
                    <a:pt x="1016" y="909"/>
                    <a:pt x="965" y="967"/>
                  </a:cubicBezTo>
                  <a:cubicBezTo>
                    <a:pt x="966" y="994"/>
                    <a:pt x="968" y="1025"/>
                    <a:pt x="975" y="1053"/>
                  </a:cubicBezTo>
                  <a:cubicBezTo>
                    <a:pt x="981" y="1082"/>
                    <a:pt x="993" y="1106"/>
                    <a:pt x="1012" y="1118"/>
                  </a:cubicBezTo>
                  <a:cubicBezTo>
                    <a:pt x="1047" y="1139"/>
                    <a:pt x="1079" y="1150"/>
                    <a:pt x="1118" y="1161"/>
                  </a:cubicBezTo>
                  <a:cubicBezTo>
                    <a:pt x="1181" y="1180"/>
                    <a:pt x="1276" y="1211"/>
                    <a:pt x="1321" y="1253"/>
                  </a:cubicBezTo>
                  <a:cubicBezTo>
                    <a:pt x="1360" y="1290"/>
                    <a:pt x="1389" y="1336"/>
                    <a:pt x="1409" y="1385"/>
                  </a:cubicBezTo>
                  <a:cubicBezTo>
                    <a:pt x="1430" y="1438"/>
                    <a:pt x="1441" y="1494"/>
                    <a:pt x="1441" y="1547"/>
                  </a:cubicBezTo>
                  <a:cubicBezTo>
                    <a:pt x="1441" y="1626"/>
                    <a:pt x="1352" y="1677"/>
                    <a:pt x="1230" y="1708"/>
                  </a:cubicBezTo>
                  <a:cubicBezTo>
                    <a:pt x="1072" y="1748"/>
                    <a:pt x="851" y="1761"/>
                    <a:pt x="720" y="1761"/>
                  </a:cubicBezTo>
                  <a:cubicBezTo>
                    <a:pt x="590" y="1761"/>
                    <a:pt x="368" y="1748"/>
                    <a:pt x="210" y="1708"/>
                  </a:cubicBezTo>
                  <a:cubicBezTo>
                    <a:pt x="88" y="1677"/>
                    <a:pt x="0" y="1626"/>
                    <a:pt x="0" y="1547"/>
                  </a:cubicBezTo>
                  <a:cubicBezTo>
                    <a:pt x="0" y="1494"/>
                    <a:pt x="10" y="1438"/>
                    <a:pt x="32" y="1385"/>
                  </a:cubicBezTo>
                  <a:cubicBezTo>
                    <a:pt x="52" y="1336"/>
                    <a:pt x="81" y="1290"/>
                    <a:pt x="120" y="1253"/>
                  </a:cubicBezTo>
                  <a:cubicBezTo>
                    <a:pt x="164" y="1211"/>
                    <a:pt x="260" y="1180"/>
                    <a:pt x="323" y="1161"/>
                  </a:cubicBezTo>
                  <a:cubicBezTo>
                    <a:pt x="366" y="1149"/>
                    <a:pt x="389" y="1140"/>
                    <a:pt x="428" y="1118"/>
                  </a:cubicBezTo>
                  <a:cubicBezTo>
                    <a:pt x="447" y="1107"/>
                    <a:pt x="458" y="1082"/>
                    <a:pt x="466" y="1053"/>
                  </a:cubicBezTo>
                  <a:cubicBezTo>
                    <a:pt x="473" y="1025"/>
                    <a:pt x="475" y="993"/>
                    <a:pt x="476" y="967"/>
                  </a:cubicBezTo>
                  <a:cubicBezTo>
                    <a:pt x="424" y="909"/>
                    <a:pt x="382" y="814"/>
                    <a:pt x="359" y="740"/>
                  </a:cubicBezTo>
                  <a:cubicBezTo>
                    <a:pt x="292" y="697"/>
                    <a:pt x="266" y="610"/>
                    <a:pt x="285" y="53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109" name="Parallelogram 108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110" name="Freeform 202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99529" y="187321"/>
              <a:ext cx="376636" cy="359716"/>
            </a:xfrm>
            <a:custGeom>
              <a:avLst/>
              <a:gdLst>
                <a:gd name="T0" fmla="*/ 199 w 1960"/>
                <a:gd name="T1" fmla="*/ 819 h 1872"/>
                <a:gd name="T2" fmla="*/ 1807 w 1960"/>
                <a:gd name="T3" fmla="*/ 10 h 1872"/>
                <a:gd name="T4" fmla="*/ 1860 w 1960"/>
                <a:gd name="T5" fmla="*/ 28 h 1872"/>
                <a:gd name="T6" fmla="*/ 1950 w 1960"/>
                <a:gd name="T7" fmla="*/ 206 h 1872"/>
                <a:gd name="T8" fmla="*/ 1933 w 1960"/>
                <a:gd name="T9" fmla="*/ 260 h 1872"/>
                <a:gd name="T10" fmla="*/ 325 w 1960"/>
                <a:gd name="T11" fmla="*/ 1069 h 1872"/>
                <a:gd name="T12" fmla="*/ 271 w 1960"/>
                <a:gd name="T13" fmla="*/ 1051 h 1872"/>
                <a:gd name="T14" fmla="*/ 181 w 1960"/>
                <a:gd name="T15" fmla="*/ 872 h 1872"/>
                <a:gd name="T16" fmla="*/ 199 w 1960"/>
                <a:gd name="T17" fmla="*/ 819 h 1872"/>
                <a:gd name="T18" fmla="*/ 1736 w 1960"/>
                <a:gd name="T19" fmla="*/ 135 h 1872"/>
                <a:gd name="T20" fmla="*/ 1682 w 1960"/>
                <a:gd name="T21" fmla="*/ 296 h 1872"/>
                <a:gd name="T22" fmla="*/ 1861 w 1960"/>
                <a:gd name="T23" fmla="*/ 206 h 1872"/>
                <a:gd name="T24" fmla="*/ 1807 w 1960"/>
                <a:gd name="T25" fmla="*/ 99 h 1872"/>
                <a:gd name="T26" fmla="*/ 1736 w 1960"/>
                <a:gd name="T27" fmla="*/ 135 h 1872"/>
                <a:gd name="T28" fmla="*/ 1092 w 1960"/>
                <a:gd name="T29" fmla="*/ 459 h 1872"/>
                <a:gd name="T30" fmla="*/ 1039 w 1960"/>
                <a:gd name="T31" fmla="*/ 620 h 1872"/>
                <a:gd name="T32" fmla="*/ 1361 w 1960"/>
                <a:gd name="T33" fmla="*/ 458 h 1872"/>
                <a:gd name="T34" fmla="*/ 1414 w 1960"/>
                <a:gd name="T35" fmla="*/ 297 h 1872"/>
                <a:gd name="T36" fmla="*/ 1092 w 1960"/>
                <a:gd name="T37" fmla="*/ 459 h 1872"/>
                <a:gd name="T38" fmla="*/ 449 w 1960"/>
                <a:gd name="T39" fmla="*/ 782 h 1872"/>
                <a:gd name="T40" fmla="*/ 396 w 1960"/>
                <a:gd name="T41" fmla="*/ 943 h 1872"/>
                <a:gd name="T42" fmla="*/ 718 w 1960"/>
                <a:gd name="T43" fmla="*/ 782 h 1872"/>
                <a:gd name="T44" fmla="*/ 771 w 1960"/>
                <a:gd name="T45" fmla="*/ 620 h 1872"/>
                <a:gd name="T46" fmla="*/ 449 w 1960"/>
                <a:gd name="T47" fmla="*/ 782 h 1872"/>
                <a:gd name="T48" fmla="*/ 640 w 1960"/>
                <a:gd name="T49" fmla="*/ 1000 h 1872"/>
                <a:gd name="T50" fmla="*/ 640 w 1960"/>
                <a:gd name="T51" fmla="*/ 1792 h 1872"/>
                <a:gd name="T52" fmla="*/ 720 w 1960"/>
                <a:gd name="T53" fmla="*/ 1792 h 1872"/>
                <a:gd name="T54" fmla="*/ 720 w 1960"/>
                <a:gd name="T55" fmla="*/ 1872 h 1872"/>
                <a:gd name="T56" fmla="*/ 0 w 1960"/>
                <a:gd name="T57" fmla="*/ 1872 h 1872"/>
                <a:gd name="T58" fmla="*/ 0 w 1960"/>
                <a:gd name="T59" fmla="*/ 1792 h 1872"/>
                <a:gd name="T60" fmla="*/ 80 w 1960"/>
                <a:gd name="T61" fmla="*/ 1792 h 1872"/>
                <a:gd name="T62" fmla="*/ 80 w 1960"/>
                <a:gd name="T63" fmla="*/ 672 h 1872"/>
                <a:gd name="T64" fmla="*/ 280 w 1960"/>
                <a:gd name="T65" fmla="*/ 472 h 1872"/>
                <a:gd name="T66" fmla="*/ 440 w 1960"/>
                <a:gd name="T67" fmla="*/ 472 h 1872"/>
                <a:gd name="T68" fmla="*/ 581 w 1960"/>
                <a:gd name="T69" fmla="*/ 531 h 1872"/>
                <a:gd name="T70" fmla="*/ 586 w 1960"/>
                <a:gd name="T71" fmla="*/ 535 h 1872"/>
                <a:gd name="T72" fmla="*/ 163 w 1960"/>
                <a:gd name="T73" fmla="*/ 747 h 1872"/>
                <a:gd name="T74" fmla="*/ 110 w 1960"/>
                <a:gd name="T75" fmla="*/ 908 h 1872"/>
                <a:gd name="T76" fmla="*/ 200 w 1960"/>
                <a:gd name="T77" fmla="*/ 1087 h 1872"/>
                <a:gd name="T78" fmla="*/ 361 w 1960"/>
                <a:gd name="T79" fmla="*/ 1140 h 1872"/>
                <a:gd name="T80" fmla="*/ 640 w 1960"/>
                <a:gd name="T81" fmla="*/ 1000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60" h="1872">
                  <a:moveTo>
                    <a:pt x="199" y="819"/>
                  </a:moveTo>
                  <a:cubicBezTo>
                    <a:pt x="735" y="549"/>
                    <a:pt x="1271" y="280"/>
                    <a:pt x="1807" y="10"/>
                  </a:cubicBezTo>
                  <a:cubicBezTo>
                    <a:pt x="1827" y="0"/>
                    <a:pt x="1851" y="8"/>
                    <a:pt x="1860" y="28"/>
                  </a:cubicBezTo>
                  <a:cubicBezTo>
                    <a:pt x="1950" y="206"/>
                    <a:pt x="1950" y="206"/>
                    <a:pt x="1950" y="206"/>
                  </a:cubicBezTo>
                  <a:cubicBezTo>
                    <a:pt x="1960" y="226"/>
                    <a:pt x="1952" y="250"/>
                    <a:pt x="1933" y="260"/>
                  </a:cubicBezTo>
                  <a:cubicBezTo>
                    <a:pt x="1397" y="530"/>
                    <a:pt x="861" y="799"/>
                    <a:pt x="325" y="1069"/>
                  </a:cubicBezTo>
                  <a:cubicBezTo>
                    <a:pt x="305" y="1079"/>
                    <a:pt x="281" y="1071"/>
                    <a:pt x="271" y="1051"/>
                  </a:cubicBezTo>
                  <a:cubicBezTo>
                    <a:pt x="181" y="872"/>
                    <a:pt x="181" y="872"/>
                    <a:pt x="181" y="872"/>
                  </a:cubicBezTo>
                  <a:cubicBezTo>
                    <a:pt x="171" y="853"/>
                    <a:pt x="179" y="829"/>
                    <a:pt x="199" y="819"/>
                  </a:cubicBezTo>
                  <a:close/>
                  <a:moveTo>
                    <a:pt x="1736" y="135"/>
                  </a:moveTo>
                  <a:cubicBezTo>
                    <a:pt x="1682" y="296"/>
                    <a:pt x="1682" y="296"/>
                    <a:pt x="1682" y="296"/>
                  </a:cubicBezTo>
                  <a:cubicBezTo>
                    <a:pt x="1861" y="206"/>
                    <a:pt x="1861" y="206"/>
                    <a:pt x="1861" y="206"/>
                  </a:cubicBezTo>
                  <a:cubicBezTo>
                    <a:pt x="1807" y="99"/>
                    <a:pt x="1807" y="99"/>
                    <a:pt x="1807" y="99"/>
                  </a:cubicBezTo>
                  <a:lnTo>
                    <a:pt x="1736" y="135"/>
                  </a:lnTo>
                  <a:close/>
                  <a:moveTo>
                    <a:pt x="1092" y="459"/>
                  </a:moveTo>
                  <a:cubicBezTo>
                    <a:pt x="1039" y="620"/>
                    <a:pt x="1039" y="620"/>
                    <a:pt x="1039" y="620"/>
                  </a:cubicBezTo>
                  <a:cubicBezTo>
                    <a:pt x="1361" y="458"/>
                    <a:pt x="1361" y="458"/>
                    <a:pt x="1361" y="458"/>
                  </a:cubicBezTo>
                  <a:cubicBezTo>
                    <a:pt x="1414" y="297"/>
                    <a:pt x="1414" y="297"/>
                    <a:pt x="1414" y="297"/>
                  </a:cubicBezTo>
                  <a:lnTo>
                    <a:pt x="1092" y="459"/>
                  </a:lnTo>
                  <a:close/>
                  <a:moveTo>
                    <a:pt x="449" y="782"/>
                  </a:moveTo>
                  <a:cubicBezTo>
                    <a:pt x="396" y="943"/>
                    <a:pt x="396" y="943"/>
                    <a:pt x="396" y="943"/>
                  </a:cubicBezTo>
                  <a:cubicBezTo>
                    <a:pt x="718" y="782"/>
                    <a:pt x="718" y="782"/>
                    <a:pt x="718" y="782"/>
                  </a:cubicBezTo>
                  <a:cubicBezTo>
                    <a:pt x="771" y="620"/>
                    <a:pt x="771" y="620"/>
                    <a:pt x="771" y="620"/>
                  </a:cubicBezTo>
                  <a:lnTo>
                    <a:pt x="449" y="782"/>
                  </a:lnTo>
                  <a:close/>
                  <a:moveTo>
                    <a:pt x="640" y="1000"/>
                  </a:moveTo>
                  <a:cubicBezTo>
                    <a:pt x="640" y="1792"/>
                    <a:pt x="640" y="1792"/>
                    <a:pt x="640" y="1792"/>
                  </a:cubicBezTo>
                  <a:cubicBezTo>
                    <a:pt x="720" y="1792"/>
                    <a:pt x="720" y="1792"/>
                    <a:pt x="720" y="1792"/>
                  </a:cubicBezTo>
                  <a:cubicBezTo>
                    <a:pt x="720" y="1872"/>
                    <a:pt x="720" y="1872"/>
                    <a:pt x="720" y="1872"/>
                  </a:cubicBezTo>
                  <a:cubicBezTo>
                    <a:pt x="480" y="1872"/>
                    <a:pt x="240" y="1872"/>
                    <a:pt x="0" y="1872"/>
                  </a:cubicBezTo>
                  <a:cubicBezTo>
                    <a:pt x="0" y="1792"/>
                    <a:pt x="0" y="1792"/>
                    <a:pt x="0" y="1792"/>
                  </a:cubicBezTo>
                  <a:cubicBezTo>
                    <a:pt x="80" y="1792"/>
                    <a:pt x="80" y="1792"/>
                    <a:pt x="80" y="1792"/>
                  </a:cubicBezTo>
                  <a:cubicBezTo>
                    <a:pt x="80" y="672"/>
                    <a:pt x="80" y="672"/>
                    <a:pt x="80" y="672"/>
                  </a:cubicBezTo>
                  <a:cubicBezTo>
                    <a:pt x="80" y="562"/>
                    <a:pt x="170" y="472"/>
                    <a:pt x="280" y="472"/>
                  </a:cubicBezTo>
                  <a:cubicBezTo>
                    <a:pt x="440" y="472"/>
                    <a:pt x="440" y="472"/>
                    <a:pt x="440" y="472"/>
                  </a:cubicBezTo>
                  <a:cubicBezTo>
                    <a:pt x="495" y="472"/>
                    <a:pt x="545" y="494"/>
                    <a:pt x="581" y="531"/>
                  </a:cubicBezTo>
                  <a:cubicBezTo>
                    <a:pt x="583" y="532"/>
                    <a:pt x="584" y="534"/>
                    <a:pt x="586" y="535"/>
                  </a:cubicBezTo>
                  <a:cubicBezTo>
                    <a:pt x="163" y="747"/>
                    <a:pt x="163" y="747"/>
                    <a:pt x="163" y="747"/>
                  </a:cubicBezTo>
                  <a:cubicBezTo>
                    <a:pt x="104" y="777"/>
                    <a:pt x="80" y="849"/>
                    <a:pt x="110" y="908"/>
                  </a:cubicBezTo>
                  <a:cubicBezTo>
                    <a:pt x="200" y="1087"/>
                    <a:pt x="200" y="1087"/>
                    <a:pt x="200" y="1087"/>
                  </a:cubicBezTo>
                  <a:cubicBezTo>
                    <a:pt x="229" y="1146"/>
                    <a:pt x="302" y="1170"/>
                    <a:pt x="361" y="1140"/>
                  </a:cubicBezTo>
                  <a:lnTo>
                    <a:pt x="640" y="10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1" name="TextBox 110"/>
          <p:cNvSpPr txBox="1"/>
          <p:nvPr/>
        </p:nvSpPr>
        <p:spPr bwMode="gray">
          <a:xfrm>
            <a:off x="1280533" y="2396886"/>
            <a:ext cx="4972031" cy="5309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nnen en vrouwen die voornamelijk i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laander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wonen</a:t>
            </a:r>
          </a:p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onger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zijn, steken vaak overwegen over</a:t>
            </a:r>
          </a:p>
        </p:txBody>
      </p:sp>
      <p:sp>
        <p:nvSpPr>
          <p:cNvPr id="112" name="TextBox 111"/>
          <p:cNvSpPr txBox="1"/>
          <p:nvPr/>
        </p:nvSpPr>
        <p:spPr bwMode="gray">
          <a:xfrm>
            <a:off x="1280533" y="2055882"/>
            <a:ext cx="8280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E?</a:t>
            </a:r>
          </a:p>
        </p:txBody>
      </p:sp>
      <p:sp>
        <p:nvSpPr>
          <p:cNvPr id="113" name="TextBox 112"/>
          <p:cNvSpPr txBox="1"/>
          <p:nvPr/>
        </p:nvSpPr>
        <p:spPr bwMode="gray">
          <a:xfrm>
            <a:off x="1280533" y="3538990"/>
            <a:ext cx="23515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T DOEN ZE?</a:t>
            </a:r>
          </a:p>
        </p:txBody>
      </p:sp>
      <p:sp>
        <p:nvSpPr>
          <p:cNvPr id="114" name="TextBox 113"/>
          <p:cNvSpPr txBox="1"/>
          <p:nvPr/>
        </p:nvSpPr>
        <p:spPr bwMode="gray">
          <a:xfrm>
            <a:off x="1280533" y="5231465"/>
            <a:ext cx="49952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9B1F2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AROM LOPEN ZE OVER DE SPOREN?</a:t>
            </a:r>
          </a:p>
        </p:txBody>
      </p:sp>
      <p:sp>
        <p:nvSpPr>
          <p:cNvPr id="115" name="TextBox 114"/>
          <p:cNvSpPr txBox="1"/>
          <p:nvPr/>
        </p:nvSpPr>
        <p:spPr bwMode="gray">
          <a:xfrm>
            <a:off x="1280533" y="3902780"/>
            <a:ext cx="430985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79%</a:t>
            </a:r>
            <a:r>
              <a:rPr lang="nl-BE" sz="16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eft minstens één keer onvoorzichtig gedrag gesteld in de buurt van een overweg, vaak wanneer ze hu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martphone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gebruikten</a:t>
            </a:r>
          </a:p>
        </p:txBody>
      </p:sp>
      <p:sp>
        <p:nvSpPr>
          <p:cNvPr id="116" name="TextBox 115"/>
          <p:cNvSpPr txBox="1"/>
          <p:nvPr/>
        </p:nvSpPr>
        <p:spPr bwMode="gray">
          <a:xfrm>
            <a:off x="1280533" y="5586771"/>
            <a:ext cx="49720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schouw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hu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drag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iet als gevaarlijk</a:t>
            </a:r>
          </a:p>
        </p:txBody>
      </p:sp>
      <p:sp>
        <p:nvSpPr>
          <p:cNvPr id="53" name="TextBox 52"/>
          <p:cNvSpPr txBox="1"/>
          <p:nvPr/>
        </p:nvSpPr>
        <p:spPr bwMode="gray">
          <a:xfrm>
            <a:off x="9134705" y="6398219"/>
            <a:ext cx="14536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gnificant verschillend van de totale steekproef</a:t>
            </a:r>
          </a:p>
        </p:txBody>
      </p:sp>
      <p:sp>
        <p:nvSpPr>
          <p:cNvPr id="54" name="Freeform 53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7701616" y="5480134"/>
            <a:ext cx="322305" cy="224413"/>
          </a:xfrm>
          <a:custGeom>
            <a:avLst/>
            <a:gdLst>
              <a:gd name="T0" fmla="*/ 1034 w 2068"/>
              <a:gd name="T1" fmla="*/ 0 h 1440"/>
              <a:gd name="T2" fmla="*/ 2065 w 2068"/>
              <a:gd name="T3" fmla="*/ 706 h 1440"/>
              <a:gd name="T4" fmla="*/ 2065 w 2068"/>
              <a:gd name="T5" fmla="*/ 734 h 1440"/>
              <a:gd name="T6" fmla="*/ 1034 w 2068"/>
              <a:gd name="T7" fmla="*/ 1440 h 1440"/>
              <a:gd name="T8" fmla="*/ 3 w 2068"/>
              <a:gd name="T9" fmla="*/ 734 h 1440"/>
              <a:gd name="T10" fmla="*/ 3 w 2068"/>
              <a:gd name="T11" fmla="*/ 706 h 1440"/>
              <a:gd name="T12" fmla="*/ 1034 w 2068"/>
              <a:gd name="T13" fmla="*/ 0 h 1440"/>
              <a:gd name="T14" fmla="*/ 1034 w 2068"/>
              <a:gd name="T15" fmla="*/ 160 h 1440"/>
              <a:gd name="T16" fmla="*/ 474 w 2068"/>
              <a:gd name="T17" fmla="*/ 720 h 1440"/>
              <a:gd name="T18" fmla="*/ 1034 w 2068"/>
              <a:gd name="T19" fmla="*/ 1280 h 1440"/>
              <a:gd name="T20" fmla="*/ 1594 w 2068"/>
              <a:gd name="T21" fmla="*/ 720 h 1440"/>
              <a:gd name="T22" fmla="*/ 1034 w 2068"/>
              <a:gd name="T23" fmla="*/ 160 h 1440"/>
              <a:gd name="T24" fmla="*/ 1322 w 2068"/>
              <a:gd name="T25" fmla="*/ 336 h 1440"/>
              <a:gd name="T26" fmla="*/ 686 w 2068"/>
              <a:gd name="T27" fmla="*/ 1051 h 1440"/>
              <a:gd name="T28" fmla="*/ 554 w 2068"/>
              <a:gd name="T29" fmla="*/ 720 h 1440"/>
              <a:gd name="T30" fmla="*/ 1034 w 2068"/>
              <a:gd name="T31" fmla="*/ 240 h 1440"/>
              <a:gd name="T32" fmla="*/ 1322 w 2068"/>
              <a:gd name="T33" fmla="*/ 336 h 1440"/>
              <a:gd name="T34" fmla="*/ 1514 w 2068"/>
              <a:gd name="T35" fmla="*/ 720 h 1440"/>
              <a:gd name="T36" fmla="*/ 1382 w 2068"/>
              <a:gd name="T37" fmla="*/ 389 h 1440"/>
              <a:gd name="T38" fmla="*/ 746 w 2068"/>
              <a:gd name="T39" fmla="*/ 1104 h 1440"/>
              <a:gd name="T40" fmla="*/ 1034 w 2068"/>
              <a:gd name="T41" fmla="*/ 1200 h 1440"/>
              <a:gd name="T42" fmla="*/ 1514 w 2068"/>
              <a:gd name="T43" fmla="*/ 7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68" h="1440">
                <a:moveTo>
                  <a:pt x="1034" y="0"/>
                </a:moveTo>
                <a:cubicBezTo>
                  <a:pt x="1464" y="0"/>
                  <a:pt x="1910" y="303"/>
                  <a:pt x="2065" y="706"/>
                </a:cubicBezTo>
                <a:cubicBezTo>
                  <a:pt x="2068" y="715"/>
                  <a:pt x="2068" y="725"/>
                  <a:pt x="2065" y="734"/>
                </a:cubicBezTo>
                <a:cubicBezTo>
                  <a:pt x="1910" y="1137"/>
                  <a:pt x="1465" y="1440"/>
                  <a:pt x="1034" y="1440"/>
                </a:cubicBezTo>
                <a:cubicBezTo>
                  <a:pt x="603" y="1440"/>
                  <a:pt x="158" y="1137"/>
                  <a:pt x="3" y="734"/>
                </a:cubicBezTo>
                <a:cubicBezTo>
                  <a:pt x="0" y="725"/>
                  <a:pt x="0" y="715"/>
                  <a:pt x="3" y="706"/>
                </a:cubicBezTo>
                <a:cubicBezTo>
                  <a:pt x="158" y="303"/>
                  <a:pt x="604" y="0"/>
                  <a:pt x="1034" y="0"/>
                </a:cubicBezTo>
                <a:close/>
                <a:moveTo>
                  <a:pt x="1034" y="160"/>
                </a:moveTo>
                <a:cubicBezTo>
                  <a:pt x="725" y="160"/>
                  <a:pt x="474" y="411"/>
                  <a:pt x="474" y="720"/>
                </a:cubicBezTo>
                <a:cubicBezTo>
                  <a:pt x="474" y="1029"/>
                  <a:pt x="725" y="1280"/>
                  <a:pt x="1034" y="1280"/>
                </a:cubicBezTo>
                <a:cubicBezTo>
                  <a:pt x="1343" y="1280"/>
                  <a:pt x="1594" y="1029"/>
                  <a:pt x="1594" y="720"/>
                </a:cubicBezTo>
                <a:cubicBezTo>
                  <a:pt x="1594" y="411"/>
                  <a:pt x="1343" y="160"/>
                  <a:pt x="1034" y="160"/>
                </a:cubicBezTo>
                <a:close/>
                <a:moveTo>
                  <a:pt x="1322" y="336"/>
                </a:moveTo>
                <a:cubicBezTo>
                  <a:pt x="686" y="1051"/>
                  <a:pt x="686" y="1051"/>
                  <a:pt x="686" y="1051"/>
                </a:cubicBezTo>
                <a:cubicBezTo>
                  <a:pt x="604" y="965"/>
                  <a:pt x="554" y="848"/>
                  <a:pt x="554" y="720"/>
                </a:cubicBezTo>
                <a:cubicBezTo>
                  <a:pt x="554" y="455"/>
                  <a:pt x="769" y="240"/>
                  <a:pt x="1034" y="240"/>
                </a:cubicBezTo>
                <a:cubicBezTo>
                  <a:pt x="1142" y="240"/>
                  <a:pt x="1242" y="276"/>
                  <a:pt x="1322" y="336"/>
                </a:cubicBezTo>
                <a:close/>
                <a:moveTo>
                  <a:pt x="1514" y="720"/>
                </a:moveTo>
                <a:cubicBezTo>
                  <a:pt x="1514" y="592"/>
                  <a:pt x="1464" y="475"/>
                  <a:pt x="1382" y="389"/>
                </a:cubicBezTo>
                <a:cubicBezTo>
                  <a:pt x="746" y="1104"/>
                  <a:pt x="746" y="1104"/>
                  <a:pt x="746" y="1104"/>
                </a:cubicBezTo>
                <a:cubicBezTo>
                  <a:pt x="826" y="1164"/>
                  <a:pt x="926" y="1200"/>
                  <a:pt x="1034" y="1200"/>
                </a:cubicBezTo>
                <a:cubicBezTo>
                  <a:pt x="1299" y="1200"/>
                  <a:pt x="1514" y="985"/>
                  <a:pt x="1514" y="7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hevron 54"/>
          <p:cNvSpPr/>
          <p:nvPr/>
        </p:nvSpPr>
        <p:spPr bwMode="gray">
          <a:xfrm>
            <a:off x="6243130" y="3885990"/>
            <a:ext cx="1232050" cy="459548"/>
          </a:xfrm>
          <a:prstGeom prst="chevron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7" name="Chevron 56"/>
          <p:cNvSpPr/>
          <p:nvPr/>
        </p:nvSpPr>
        <p:spPr bwMode="gray">
          <a:xfrm>
            <a:off x="6290731" y="2361802"/>
            <a:ext cx="1232050" cy="459548"/>
          </a:xfrm>
          <a:prstGeom prst="chevron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9" name="Chevron 58"/>
          <p:cNvSpPr/>
          <p:nvPr/>
        </p:nvSpPr>
        <p:spPr bwMode="gray">
          <a:xfrm>
            <a:off x="6252845" y="5422148"/>
            <a:ext cx="1232050" cy="459548"/>
          </a:xfrm>
          <a:prstGeom prst="chevron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 bwMode="gray">
          <a:xfrm>
            <a:off x="7988247" y="3604954"/>
            <a:ext cx="2788941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lijk gedrag dat in de afgelopen</a:t>
            </a:r>
            <a:b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6 maanden het vaakst voorkwam</a:t>
            </a:r>
          </a:p>
        </p:txBody>
      </p:sp>
    </p:spTree>
    <p:extLst>
      <p:ext uri="{BB962C8B-B14F-4D97-AF65-F5344CB8AC3E}">
        <p14:creationId xmlns:p14="http://schemas.microsoft.com/office/powerpoint/2010/main" val="297019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480" y="176682"/>
            <a:ext cx="2054700" cy="2739600"/>
          </a:xfrm>
          <a:prstGeom prst="rect">
            <a:avLst/>
          </a:prstGeom>
        </p:spPr>
      </p:pic>
      <p:sp>
        <p:nvSpPr>
          <p:cNvPr id="62" name="Rounded Rectangle 61"/>
          <p:cNvSpPr/>
          <p:nvPr/>
        </p:nvSpPr>
        <p:spPr bwMode="gray">
          <a:xfrm>
            <a:off x="6966340" y="1671712"/>
            <a:ext cx="4589217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3" name="Rounded Rectangle 62"/>
          <p:cNvSpPr/>
          <p:nvPr/>
        </p:nvSpPr>
        <p:spPr bwMode="gray">
          <a:xfrm>
            <a:off x="919532" y="1671711"/>
            <a:ext cx="5923396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 bwMode="gray">
          <a:xfrm>
            <a:off x="189185" y="890136"/>
            <a:ext cx="1339564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F0AB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Maak hen bewust van de gevaren </a:t>
            </a:r>
            <a:br>
              <a:rPr lang="nl-BE" sz="2400" b="1" dirty="0">
                <a:solidFill>
                  <a:srgbClr val="F0AB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2400" b="1" dirty="0">
                <a:solidFill>
                  <a:srgbClr val="F0AB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&amp; geef grotere gevolgen aan gedrag</a:t>
            </a:r>
          </a:p>
        </p:txBody>
      </p:sp>
      <p:sp>
        <p:nvSpPr>
          <p:cNvPr id="38" name="TextBox 37"/>
          <p:cNvSpPr txBox="1"/>
          <p:nvPr/>
        </p:nvSpPr>
        <p:spPr bwMode="gray">
          <a:xfrm>
            <a:off x="1280536" y="5586775"/>
            <a:ext cx="49720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Ze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schouwen hun gedrag niet als gevaarlijk</a:t>
            </a:r>
          </a:p>
        </p:txBody>
      </p:sp>
      <p:sp>
        <p:nvSpPr>
          <p:cNvPr id="12" name="Oval 11"/>
          <p:cNvSpPr/>
          <p:nvPr/>
        </p:nvSpPr>
        <p:spPr bwMode="gray">
          <a:xfrm>
            <a:off x="1895529" y="281583"/>
            <a:ext cx="1920000" cy="1920000"/>
          </a:xfrm>
          <a:prstGeom prst="ellipse">
            <a:avLst/>
          </a:prstGeom>
          <a:solidFill>
            <a:srgbClr val="F0AB0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4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endParaRPr lang="nl-BE" b="1" dirty="0" smtClean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nl-BE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Unconscious</a:t>
            </a: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crossers</a:t>
            </a:r>
            <a: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24%</a:t>
            </a:r>
            <a:b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endParaRPr lang="nl-BE" sz="2400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41" name="Parallelogram 40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  <a:defRPr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58" name="Freeform 202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99529" y="187321"/>
              <a:ext cx="376636" cy="359716"/>
            </a:xfrm>
            <a:custGeom>
              <a:avLst/>
              <a:gdLst>
                <a:gd name="T0" fmla="*/ 199 w 1960"/>
                <a:gd name="T1" fmla="*/ 819 h 1872"/>
                <a:gd name="T2" fmla="*/ 1807 w 1960"/>
                <a:gd name="T3" fmla="*/ 10 h 1872"/>
                <a:gd name="T4" fmla="*/ 1860 w 1960"/>
                <a:gd name="T5" fmla="*/ 28 h 1872"/>
                <a:gd name="T6" fmla="*/ 1950 w 1960"/>
                <a:gd name="T7" fmla="*/ 206 h 1872"/>
                <a:gd name="T8" fmla="*/ 1933 w 1960"/>
                <a:gd name="T9" fmla="*/ 260 h 1872"/>
                <a:gd name="T10" fmla="*/ 325 w 1960"/>
                <a:gd name="T11" fmla="*/ 1069 h 1872"/>
                <a:gd name="T12" fmla="*/ 271 w 1960"/>
                <a:gd name="T13" fmla="*/ 1051 h 1872"/>
                <a:gd name="T14" fmla="*/ 181 w 1960"/>
                <a:gd name="T15" fmla="*/ 872 h 1872"/>
                <a:gd name="T16" fmla="*/ 199 w 1960"/>
                <a:gd name="T17" fmla="*/ 819 h 1872"/>
                <a:gd name="T18" fmla="*/ 1736 w 1960"/>
                <a:gd name="T19" fmla="*/ 135 h 1872"/>
                <a:gd name="T20" fmla="*/ 1682 w 1960"/>
                <a:gd name="T21" fmla="*/ 296 h 1872"/>
                <a:gd name="T22" fmla="*/ 1861 w 1960"/>
                <a:gd name="T23" fmla="*/ 206 h 1872"/>
                <a:gd name="T24" fmla="*/ 1807 w 1960"/>
                <a:gd name="T25" fmla="*/ 99 h 1872"/>
                <a:gd name="T26" fmla="*/ 1736 w 1960"/>
                <a:gd name="T27" fmla="*/ 135 h 1872"/>
                <a:gd name="T28" fmla="*/ 1092 w 1960"/>
                <a:gd name="T29" fmla="*/ 459 h 1872"/>
                <a:gd name="T30" fmla="*/ 1039 w 1960"/>
                <a:gd name="T31" fmla="*/ 620 h 1872"/>
                <a:gd name="T32" fmla="*/ 1361 w 1960"/>
                <a:gd name="T33" fmla="*/ 458 h 1872"/>
                <a:gd name="T34" fmla="*/ 1414 w 1960"/>
                <a:gd name="T35" fmla="*/ 297 h 1872"/>
                <a:gd name="T36" fmla="*/ 1092 w 1960"/>
                <a:gd name="T37" fmla="*/ 459 h 1872"/>
                <a:gd name="T38" fmla="*/ 449 w 1960"/>
                <a:gd name="T39" fmla="*/ 782 h 1872"/>
                <a:gd name="T40" fmla="*/ 396 w 1960"/>
                <a:gd name="T41" fmla="*/ 943 h 1872"/>
                <a:gd name="T42" fmla="*/ 718 w 1960"/>
                <a:gd name="T43" fmla="*/ 782 h 1872"/>
                <a:gd name="T44" fmla="*/ 771 w 1960"/>
                <a:gd name="T45" fmla="*/ 620 h 1872"/>
                <a:gd name="T46" fmla="*/ 449 w 1960"/>
                <a:gd name="T47" fmla="*/ 782 h 1872"/>
                <a:gd name="T48" fmla="*/ 640 w 1960"/>
                <a:gd name="T49" fmla="*/ 1000 h 1872"/>
                <a:gd name="T50" fmla="*/ 640 w 1960"/>
                <a:gd name="T51" fmla="*/ 1792 h 1872"/>
                <a:gd name="T52" fmla="*/ 720 w 1960"/>
                <a:gd name="T53" fmla="*/ 1792 h 1872"/>
                <a:gd name="T54" fmla="*/ 720 w 1960"/>
                <a:gd name="T55" fmla="*/ 1872 h 1872"/>
                <a:gd name="T56" fmla="*/ 0 w 1960"/>
                <a:gd name="T57" fmla="*/ 1872 h 1872"/>
                <a:gd name="T58" fmla="*/ 0 w 1960"/>
                <a:gd name="T59" fmla="*/ 1792 h 1872"/>
                <a:gd name="T60" fmla="*/ 80 w 1960"/>
                <a:gd name="T61" fmla="*/ 1792 h 1872"/>
                <a:gd name="T62" fmla="*/ 80 w 1960"/>
                <a:gd name="T63" fmla="*/ 672 h 1872"/>
                <a:gd name="T64" fmla="*/ 280 w 1960"/>
                <a:gd name="T65" fmla="*/ 472 h 1872"/>
                <a:gd name="T66" fmla="*/ 440 w 1960"/>
                <a:gd name="T67" fmla="*/ 472 h 1872"/>
                <a:gd name="T68" fmla="*/ 581 w 1960"/>
                <a:gd name="T69" fmla="*/ 531 h 1872"/>
                <a:gd name="T70" fmla="*/ 586 w 1960"/>
                <a:gd name="T71" fmla="*/ 535 h 1872"/>
                <a:gd name="T72" fmla="*/ 163 w 1960"/>
                <a:gd name="T73" fmla="*/ 747 h 1872"/>
                <a:gd name="T74" fmla="*/ 110 w 1960"/>
                <a:gd name="T75" fmla="*/ 908 h 1872"/>
                <a:gd name="T76" fmla="*/ 200 w 1960"/>
                <a:gd name="T77" fmla="*/ 1087 h 1872"/>
                <a:gd name="T78" fmla="*/ 361 w 1960"/>
                <a:gd name="T79" fmla="*/ 1140 h 1872"/>
                <a:gd name="T80" fmla="*/ 640 w 1960"/>
                <a:gd name="T81" fmla="*/ 1000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60" h="1872">
                  <a:moveTo>
                    <a:pt x="199" y="819"/>
                  </a:moveTo>
                  <a:cubicBezTo>
                    <a:pt x="735" y="549"/>
                    <a:pt x="1271" y="280"/>
                    <a:pt x="1807" y="10"/>
                  </a:cubicBezTo>
                  <a:cubicBezTo>
                    <a:pt x="1827" y="0"/>
                    <a:pt x="1851" y="8"/>
                    <a:pt x="1860" y="28"/>
                  </a:cubicBezTo>
                  <a:cubicBezTo>
                    <a:pt x="1950" y="206"/>
                    <a:pt x="1950" y="206"/>
                    <a:pt x="1950" y="206"/>
                  </a:cubicBezTo>
                  <a:cubicBezTo>
                    <a:pt x="1960" y="226"/>
                    <a:pt x="1952" y="250"/>
                    <a:pt x="1933" y="260"/>
                  </a:cubicBezTo>
                  <a:cubicBezTo>
                    <a:pt x="1397" y="530"/>
                    <a:pt x="861" y="799"/>
                    <a:pt x="325" y="1069"/>
                  </a:cubicBezTo>
                  <a:cubicBezTo>
                    <a:pt x="305" y="1079"/>
                    <a:pt x="281" y="1071"/>
                    <a:pt x="271" y="1051"/>
                  </a:cubicBezTo>
                  <a:cubicBezTo>
                    <a:pt x="181" y="872"/>
                    <a:pt x="181" y="872"/>
                    <a:pt x="181" y="872"/>
                  </a:cubicBezTo>
                  <a:cubicBezTo>
                    <a:pt x="171" y="853"/>
                    <a:pt x="179" y="829"/>
                    <a:pt x="199" y="819"/>
                  </a:cubicBezTo>
                  <a:close/>
                  <a:moveTo>
                    <a:pt x="1736" y="135"/>
                  </a:moveTo>
                  <a:cubicBezTo>
                    <a:pt x="1682" y="296"/>
                    <a:pt x="1682" y="296"/>
                    <a:pt x="1682" y="296"/>
                  </a:cubicBezTo>
                  <a:cubicBezTo>
                    <a:pt x="1861" y="206"/>
                    <a:pt x="1861" y="206"/>
                    <a:pt x="1861" y="206"/>
                  </a:cubicBezTo>
                  <a:cubicBezTo>
                    <a:pt x="1807" y="99"/>
                    <a:pt x="1807" y="99"/>
                    <a:pt x="1807" y="99"/>
                  </a:cubicBezTo>
                  <a:lnTo>
                    <a:pt x="1736" y="135"/>
                  </a:lnTo>
                  <a:close/>
                  <a:moveTo>
                    <a:pt x="1092" y="459"/>
                  </a:moveTo>
                  <a:cubicBezTo>
                    <a:pt x="1039" y="620"/>
                    <a:pt x="1039" y="620"/>
                    <a:pt x="1039" y="620"/>
                  </a:cubicBezTo>
                  <a:cubicBezTo>
                    <a:pt x="1361" y="458"/>
                    <a:pt x="1361" y="458"/>
                    <a:pt x="1361" y="458"/>
                  </a:cubicBezTo>
                  <a:cubicBezTo>
                    <a:pt x="1414" y="297"/>
                    <a:pt x="1414" y="297"/>
                    <a:pt x="1414" y="297"/>
                  </a:cubicBezTo>
                  <a:lnTo>
                    <a:pt x="1092" y="459"/>
                  </a:lnTo>
                  <a:close/>
                  <a:moveTo>
                    <a:pt x="449" y="782"/>
                  </a:moveTo>
                  <a:cubicBezTo>
                    <a:pt x="396" y="943"/>
                    <a:pt x="396" y="943"/>
                    <a:pt x="396" y="943"/>
                  </a:cubicBezTo>
                  <a:cubicBezTo>
                    <a:pt x="718" y="782"/>
                    <a:pt x="718" y="782"/>
                    <a:pt x="718" y="782"/>
                  </a:cubicBezTo>
                  <a:cubicBezTo>
                    <a:pt x="771" y="620"/>
                    <a:pt x="771" y="620"/>
                    <a:pt x="771" y="620"/>
                  </a:cubicBezTo>
                  <a:lnTo>
                    <a:pt x="449" y="782"/>
                  </a:lnTo>
                  <a:close/>
                  <a:moveTo>
                    <a:pt x="640" y="1000"/>
                  </a:moveTo>
                  <a:cubicBezTo>
                    <a:pt x="640" y="1792"/>
                    <a:pt x="640" y="1792"/>
                    <a:pt x="640" y="1792"/>
                  </a:cubicBezTo>
                  <a:cubicBezTo>
                    <a:pt x="720" y="1792"/>
                    <a:pt x="720" y="1792"/>
                    <a:pt x="720" y="1792"/>
                  </a:cubicBezTo>
                  <a:cubicBezTo>
                    <a:pt x="720" y="1872"/>
                    <a:pt x="720" y="1872"/>
                    <a:pt x="720" y="1872"/>
                  </a:cubicBezTo>
                  <a:cubicBezTo>
                    <a:pt x="480" y="1872"/>
                    <a:pt x="240" y="1872"/>
                    <a:pt x="0" y="1872"/>
                  </a:cubicBezTo>
                  <a:cubicBezTo>
                    <a:pt x="0" y="1792"/>
                    <a:pt x="0" y="1792"/>
                    <a:pt x="0" y="1792"/>
                  </a:cubicBezTo>
                  <a:cubicBezTo>
                    <a:pt x="80" y="1792"/>
                    <a:pt x="80" y="1792"/>
                    <a:pt x="80" y="1792"/>
                  </a:cubicBezTo>
                  <a:cubicBezTo>
                    <a:pt x="80" y="672"/>
                    <a:pt x="80" y="672"/>
                    <a:pt x="80" y="672"/>
                  </a:cubicBezTo>
                  <a:cubicBezTo>
                    <a:pt x="80" y="562"/>
                    <a:pt x="170" y="472"/>
                    <a:pt x="280" y="472"/>
                  </a:cubicBezTo>
                  <a:cubicBezTo>
                    <a:pt x="440" y="472"/>
                    <a:pt x="440" y="472"/>
                    <a:pt x="440" y="472"/>
                  </a:cubicBezTo>
                  <a:cubicBezTo>
                    <a:pt x="495" y="472"/>
                    <a:pt x="545" y="494"/>
                    <a:pt x="581" y="531"/>
                  </a:cubicBezTo>
                  <a:cubicBezTo>
                    <a:pt x="583" y="532"/>
                    <a:pt x="584" y="534"/>
                    <a:pt x="586" y="535"/>
                  </a:cubicBezTo>
                  <a:cubicBezTo>
                    <a:pt x="163" y="747"/>
                    <a:pt x="163" y="747"/>
                    <a:pt x="163" y="747"/>
                  </a:cubicBezTo>
                  <a:cubicBezTo>
                    <a:pt x="104" y="777"/>
                    <a:pt x="80" y="849"/>
                    <a:pt x="110" y="908"/>
                  </a:cubicBezTo>
                  <a:cubicBezTo>
                    <a:pt x="200" y="1087"/>
                    <a:pt x="200" y="1087"/>
                    <a:pt x="200" y="1087"/>
                  </a:cubicBezTo>
                  <a:cubicBezTo>
                    <a:pt x="229" y="1146"/>
                    <a:pt x="302" y="1170"/>
                    <a:pt x="361" y="1140"/>
                  </a:cubicBezTo>
                  <a:lnTo>
                    <a:pt x="640" y="10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1" name="Rectangle 60"/>
          <p:cNvSpPr/>
          <p:nvPr/>
        </p:nvSpPr>
        <p:spPr bwMode="gray">
          <a:xfrm>
            <a:off x="10871336" y="6533769"/>
            <a:ext cx="255182" cy="1914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4" name="Rectangle 63"/>
          <p:cNvSpPr/>
          <p:nvPr/>
        </p:nvSpPr>
        <p:spPr bwMode="gray">
          <a:xfrm>
            <a:off x="10588347" y="6535109"/>
            <a:ext cx="255182" cy="191449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/>
        </p:nvSpPr>
        <p:spPr bwMode="gray">
          <a:xfrm>
            <a:off x="1280536" y="2396886"/>
            <a:ext cx="4972031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nnen en vrouwen die voornamelijk i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laander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wonen </a:t>
            </a:r>
          </a:p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n meer uit de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ddelste leeftijdscategorieën,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teken vaak overwegen over</a:t>
            </a:r>
          </a:p>
        </p:txBody>
      </p:sp>
      <p:sp>
        <p:nvSpPr>
          <p:cNvPr id="70" name="TextBox 69"/>
          <p:cNvSpPr txBox="1"/>
          <p:nvPr/>
        </p:nvSpPr>
        <p:spPr bwMode="gray">
          <a:xfrm>
            <a:off x="1280536" y="2055882"/>
            <a:ext cx="8280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FFC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E?</a:t>
            </a:r>
          </a:p>
        </p:txBody>
      </p:sp>
      <p:sp>
        <p:nvSpPr>
          <p:cNvPr id="71" name="TextBox 70"/>
          <p:cNvSpPr txBox="1"/>
          <p:nvPr/>
        </p:nvSpPr>
        <p:spPr bwMode="gray">
          <a:xfrm>
            <a:off x="1280536" y="3538990"/>
            <a:ext cx="23515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FFC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T DOEN ZE?</a:t>
            </a:r>
          </a:p>
        </p:txBody>
      </p:sp>
      <p:sp>
        <p:nvSpPr>
          <p:cNvPr id="72" name="TextBox 71"/>
          <p:cNvSpPr txBox="1"/>
          <p:nvPr/>
        </p:nvSpPr>
        <p:spPr bwMode="gray">
          <a:xfrm>
            <a:off x="1280536" y="5249571"/>
            <a:ext cx="47224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FFC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AROM LOPEN ZE OVER DE SPOREN?</a:t>
            </a:r>
          </a:p>
        </p:txBody>
      </p:sp>
      <p:sp>
        <p:nvSpPr>
          <p:cNvPr id="74" name="Freeform 3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653754" y="1996183"/>
            <a:ext cx="354052" cy="258657"/>
          </a:xfrm>
          <a:custGeom>
            <a:avLst/>
            <a:gdLst>
              <a:gd name="T0" fmla="*/ 160 w 2080"/>
              <a:gd name="T1" fmla="*/ 0 h 1520"/>
              <a:gd name="T2" fmla="*/ 1920 w 2080"/>
              <a:gd name="T3" fmla="*/ 0 h 1520"/>
              <a:gd name="T4" fmla="*/ 2080 w 2080"/>
              <a:gd name="T5" fmla="*/ 160 h 1520"/>
              <a:gd name="T6" fmla="*/ 2080 w 2080"/>
              <a:gd name="T7" fmla="*/ 1360 h 1520"/>
              <a:gd name="T8" fmla="*/ 1920 w 2080"/>
              <a:gd name="T9" fmla="*/ 1520 h 1520"/>
              <a:gd name="T10" fmla="*/ 160 w 2080"/>
              <a:gd name="T11" fmla="*/ 1520 h 1520"/>
              <a:gd name="T12" fmla="*/ 0 w 2080"/>
              <a:gd name="T13" fmla="*/ 1360 h 1520"/>
              <a:gd name="T14" fmla="*/ 0 w 2080"/>
              <a:gd name="T15" fmla="*/ 160 h 1520"/>
              <a:gd name="T16" fmla="*/ 160 w 2080"/>
              <a:gd name="T17" fmla="*/ 0 h 1520"/>
              <a:gd name="T18" fmla="*/ 1120 w 2080"/>
              <a:gd name="T19" fmla="*/ 320 h 1520"/>
              <a:gd name="T20" fmla="*/ 1120 w 2080"/>
              <a:gd name="T21" fmla="*/ 1360 h 1520"/>
              <a:gd name="T22" fmla="*/ 1920 w 2080"/>
              <a:gd name="T23" fmla="*/ 1360 h 1520"/>
              <a:gd name="T24" fmla="*/ 1920 w 2080"/>
              <a:gd name="T25" fmla="*/ 320 h 1520"/>
              <a:gd name="T26" fmla="*/ 1120 w 2080"/>
              <a:gd name="T27" fmla="*/ 320 h 1520"/>
              <a:gd name="T28" fmla="*/ 1840 w 2080"/>
              <a:gd name="T29" fmla="*/ 400 h 1520"/>
              <a:gd name="T30" fmla="*/ 1840 w 2080"/>
              <a:gd name="T31" fmla="*/ 1200 h 1520"/>
              <a:gd name="T32" fmla="*/ 1816 w 2080"/>
              <a:gd name="T33" fmla="*/ 1170 h 1520"/>
              <a:gd name="T34" fmla="*/ 1750 w 2080"/>
              <a:gd name="T35" fmla="*/ 1136 h 1520"/>
              <a:gd name="T36" fmla="*/ 1660 w 2080"/>
              <a:gd name="T37" fmla="*/ 1102 h 1520"/>
              <a:gd name="T38" fmla="*/ 1625 w 2080"/>
              <a:gd name="T39" fmla="*/ 996 h 1520"/>
              <a:gd name="T40" fmla="*/ 1689 w 2080"/>
              <a:gd name="T41" fmla="*/ 871 h 1520"/>
              <a:gd name="T42" fmla="*/ 1724 w 2080"/>
              <a:gd name="T43" fmla="*/ 779 h 1520"/>
              <a:gd name="T44" fmla="*/ 1731 w 2080"/>
              <a:gd name="T45" fmla="*/ 671 h 1520"/>
              <a:gd name="T46" fmla="*/ 1568 w 2080"/>
              <a:gd name="T47" fmla="*/ 545 h 1520"/>
              <a:gd name="T48" fmla="*/ 1511 w 2080"/>
              <a:gd name="T49" fmla="*/ 521 h 1520"/>
              <a:gd name="T50" fmla="*/ 1309 w 2080"/>
              <a:gd name="T51" fmla="*/ 672 h 1520"/>
              <a:gd name="T52" fmla="*/ 1316 w 2080"/>
              <a:gd name="T53" fmla="*/ 779 h 1520"/>
              <a:gd name="T54" fmla="*/ 1351 w 2080"/>
              <a:gd name="T55" fmla="*/ 871 h 1520"/>
              <a:gd name="T56" fmla="*/ 1415 w 2080"/>
              <a:gd name="T57" fmla="*/ 996 h 1520"/>
              <a:gd name="T58" fmla="*/ 1380 w 2080"/>
              <a:gd name="T59" fmla="*/ 1102 h 1520"/>
              <a:gd name="T60" fmla="*/ 1290 w 2080"/>
              <a:gd name="T61" fmla="*/ 1136 h 1520"/>
              <a:gd name="T62" fmla="*/ 1224 w 2080"/>
              <a:gd name="T63" fmla="*/ 1170 h 1520"/>
              <a:gd name="T64" fmla="*/ 1200 w 2080"/>
              <a:gd name="T65" fmla="*/ 1200 h 1520"/>
              <a:gd name="T66" fmla="*/ 1200 w 2080"/>
              <a:gd name="T67" fmla="*/ 400 h 1520"/>
              <a:gd name="T68" fmla="*/ 1840 w 2080"/>
              <a:gd name="T69" fmla="*/ 400 h 1520"/>
              <a:gd name="T70" fmla="*/ 240 w 2080"/>
              <a:gd name="T71" fmla="*/ 480 h 1520"/>
              <a:gd name="T72" fmla="*/ 240 w 2080"/>
              <a:gd name="T73" fmla="*/ 560 h 1520"/>
              <a:gd name="T74" fmla="*/ 959 w 2080"/>
              <a:gd name="T75" fmla="*/ 560 h 1520"/>
              <a:gd name="T76" fmla="*/ 959 w 2080"/>
              <a:gd name="T77" fmla="*/ 480 h 1520"/>
              <a:gd name="T78" fmla="*/ 240 w 2080"/>
              <a:gd name="T79" fmla="*/ 480 h 1520"/>
              <a:gd name="T80" fmla="*/ 241 w 2080"/>
              <a:gd name="T81" fmla="*/ 719 h 1520"/>
              <a:gd name="T82" fmla="*/ 241 w 2080"/>
              <a:gd name="T83" fmla="*/ 799 h 1520"/>
              <a:gd name="T84" fmla="*/ 960 w 2080"/>
              <a:gd name="T85" fmla="*/ 799 h 1520"/>
              <a:gd name="T86" fmla="*/ 960 w 2080"/>
              <a:gd name="T87" fmla="*/ 719 h 1520"/>
              <a:gd name="T88" fmla="*/ 241 w 2080"/>
              <a:gd name="T89" fmla="*/ 719 h 1520"/>
              <a:gd name="T90" fmla="*/ 241 w 2080"/>
              <a:gd name="T91" fmla="*/ 960 h 1520"/>
              <a:gd name="T92" fmla="*/ 241 w 2080"/>
              <a:gd name="T93" fmla="*/ 1040 h 1520"/>
              <a:gd name="T94" fmla="*/ 720 w 2080"/>
              <a:gd name="T95" fmla="*/ 1040 h 1520"/>
              <a:gd name="T96" fmla="*/ 720 w 2080"/>
              <a:gd name="T97" fmla="*/ 960 h 1520"/>
              <a:gd name="T98" fmla="*/ 241 w 2080"/>
              <a:gd name="T99" fmla="*/ 96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520">
                <a:moveTo>
                  <a:pt x="160" y="0"/>
                </a:moveTo>
                <a:cubicBezTo>
                  <a:pt x="1920" y="0"/>
                  <a:pt x="1920" y="0"/>
                  <a:pt x="1920" y="0"/>
                </a:cubicBezTo>
                <a:cubicBezTo>
                  <a:pt x="2008" y="0"/>
                  <a:pt x="2080" y="72"/>
                  <a:pt x="2080" y="160"/>
                </a:cubicBezTo>
                <a:cubicBezTo>
                  <a:pt x="2080" y="1360"/>
                  <a:pt x="2080" y="1360"/>
                  <a:pt x="2080" y="1360"/>
                </a:cubicBezTo>
                <a:cubicBezTo>
                  <a:pt x="2080" y="1448"/>
                  <a:pt x="2008" y="1520"/>
                  <a:pt x="1920" y="1520"/>
                </a:cubicBezTo>
                <a:cubicBezTo>
                  <a:pt x="160" y="1520"/>
                  <a:pt x="160" y="1520"/>
                  <a:pt x="160" y="1520"/>
                </a:cubicBezTo>
                <a:cubicBezTo>
                  <a:pt x="72" y="1520"/>
                  <a:pt x="0" y="1448"/>
                  <a:pt x="0" y="13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72"/>
                  <a:pt x="72" y="0"/>
                  <a:pt x="160" y="0"/>
                </a:cubicBezTo>
                <a:close/>
                <a:moveTo>
                  <a:pt x="1120" y="320"/>
                </a:moveTo>
                <a:cubicBezTo>
                  <a:pt x="1120" y="1360"/>
                  <a:pt x="1120" y="1360"/>
                  <a:pt x="1120" y="1360"/>
                </a:cubicBezTo>
                <a:cubicBezTo>
                  <a:pt x="1920" y="1360"/>
                  <a:pt x="1920" y="1360"/>
                  <a:pt x="1920" y="1360"/>
                </a:cubicBezTo>
                <a:cubicBezTo>
                  <a:pt x="1920" y="320"/>
                  <a:pt x="1920" y="320"/>
                  <a:pt x="1920" y="320"/>
                </a:cubicBezTo>
                <a:lnTo>
                  <a:pt x="1120" y="320"/>
                </a:lnTo>
                <a:close/>
                <a:moveTo>
                  <a:pt x="1840" y="400"/>
                </a:moveTo>
                <a:cubicBezTo>
                  <a:pt x="1840" y="1200"/>
                  <a:pt x="1840" y="1200"/>
                  <a:pt x="1840" y="1200"/>
                </a:cubicBezTo>
                <a:cubicBezTo>
                  <a:pt x="1833" y="1189"/>
                  <a:pt x="1825" y="1178"/>
                  <a:pt x="1816" y="1170"/>
                </a:cubicBezTo>
                <a:cubicBezTo>
                  <a:pt x="1799" y="1154"/>
                  <a:pt x="1772" y="1144"/>
                  <a:pt x="1750" y="1136"/>
                </a:cubicBezTo>
                <a:cubicBezTo>
                  <a:pt x="1714" y="1123"/>
                  <a:pt x="1693" y="1122"/>
                  <a:pt x="1660" y="1102"/>
                </a:cubicBezTo>
                <a:cubicBezTo>
                  <a:pt x="1628" y="1083"/>
                  <a:pt x="1626" y="1029"/>
                  <a:pt x="1625" y="996"/>
                </a:cubicBezTo>
                <a:cubicBezTo>
                  <a:pt x="1654" y="968"/>
                  <a:pt x="1679" y="908"/>
                  <a:pt x="1689" y="871"/>
                </a:cubicBezTo>
                <a:cubicBezTo>
                  <a:pt x="1722" y="855"/>
                  <a:pt x="1734" y="813"/>
                  <a:pt x="1724" y="779"/>
                </a:cubicBezTo>
                <a:cubicBezTo>
                  <a:pt x="1731" y="671"/>
                  <a:pt x="1731" y="671"/>
                  <a:pt x="1731" y="671"/>
                </a:cubicBezTo>
                <a:cubicBezTo>
                  <a:pt x="1738" y="594"/>
                  <a:pt x="1645" y="507"/>
                  <a:pt x="1568" y="545"/>
                </a:cubicBezTo>
                <a:cubicBezTo>
                  <a:pt x="1548" y="532"/>
                  <a:pt x="1536" y="525"/>
                  <a:pt x="1511" y="521"/>
                </a:cubicBezTo>
                <a:cubicBezTo>
                  <a:pt x="1413" y="505"/>
                  <a:pt x="1307" y="564"/>
                  <a:pt x="1309" y="672"/>
                </a:cubicBezTo>
                <a:cubicBezTo>
                  <a:pt x="1316" y="779"/>
                  <a:pt x="1316" y="779"/>
                  <a:pt x="1316" y="779"/>
                </a:cubicBezTo>
                <a:cubicBezTo>
                  <a:pt x="1306" y="812"/>
                  <a:pt x="1318" y="855"/>
                  <a:pt x="1351" y="871"/>
                </a:cubicBezTo>
                <a:cubicBezTo>
                  <a:pt x="1361" y="909"/>
                  <a:pt x="1387" y="969"/>
                  <a:pt x="1415" y="996"/>
                </a:cubicBezTo>
                <a:cubicBezTo>
                  <a:pt x="1415" y="1028"/>
                  <a:pt x="1410" y="1084"/>
                  <a:pt x="1380" y="1102"/>
                </a:cubicBezTo>
                <a:cubicBezTo>
                  <a:pt x="1347" y="1122"/>
                  <a:pt x="1326" y="1123"/>
                  <a:pt x="1290" y="1136"/>
                </a:cubicBezTo>
                <a:cubicBezTo>
                  <a:pt x="1268" y="1144"/>
                  <a:pt x="1241" y="1154"/>
                  <a:pt x="1224" y="1170"/>
                </a:cubicBezTo>
                <a:cubicBezTo>
                  <a:pt x="1215" y="1178"/>
                  <a:pt x="1207" y="1189"/>
                  <a:pt x="1200" y="1200"/>
                </a:cubicBezTo>
                <a:cubicBezTo>
                  <a:pt x="1200" y="400"/>
                  <a:pt x="1200" y="400"/>
                  <a:pt x="1200" y="400"/>
                </a:cubicBezTo>
                <a:lnTo>
                  <a:pt x="1840" y="400"/>
                </a:lnTo>
                <a:close/>
                <a:moveTo>
                  <a:pt x="240" y="480"/>
                </a:moveTo>
                <a:cubicBezTo>
                  <a:pt x="240" y="560"/>
                  <a:pt x="240" y="560"/>
                  <a:pt x="240" y="560"/>
                </a:cubicBezTo>
                <a:cubicBezTo>
                  <a:pt x="959" y="560"/>
                  <a:pt x="959" y="560"/>
                  <a:pt x="959" y="560"/>
                </a:cubicBezTo>
                <a:cubicBezTo>
                  <a:pt x="959" y="480"/>
                  <a:pt x="959" y="480"/>
                  <a:pt x="959" y="480"/>
                </a:cubicBezTo>
                <a:lnTo>
                  <a:pt x="240" y="480"/>
                </a:lnTo>
                <a:close/>
                <a:moveTo>
                  <a:pt x="241" y="719"/>
                </a:moveTo>
                <a:cubicBezTo>
                  <a:pt x="241" y="799"/>
                  <a:pt x="241" y="799"/>
                  <a:pt x="241" y="799"/>
                </a:cubicBezTo>
                <a:cubicBezTo>
                  <a:pt x="960" y="799"/>
                  <a:pt x="960" y="799"/>
                  <a:pt x="960" y="799"/>
                </a:cubicBezTo>
                <a:cubicBezTo>
                  <a:pt x="960" y="719"/>
                  <a:pt x="960" y="719"/>
                  <a:pt x="960" y="719"/>
                </a:cubicBezTo>
                <a:lnTo>
                  <a:pt x="241" y="719"/>
                </a:lnTo>
                <a:close/>
                <a:moveTo>
                  <a:pt x="241" y="960"/>
                </a:moveTo>
                <a:cubicBezTo>
                  <a:pt x="241" y="1040"/>
                  <a:pt x="241" y="1040"/>
                  <a:pt x="241" y="1040"/>
                </a:cubicBezTo>
                <a:cubicBezTo>
                  <a:pt x="720" y="1040"/>
                  <a:pt x="720" y="1040"/>
                  <a:pt x="720" y="1040"/>
                </a:cubicBezTo>
                <a:cubicBezTo>
                  <a:pt x="720" y="960"/>
                  <a:pt x="720" y="960"/>
                  <a:pt x="720" y="960"/>
                </a:cubicBezTo>
                <a:lnTo>
                  <a:pt x="241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/>
          <p:cNvSpPr txBox="1"/>
          <p:nvPr/>
        </p:nvSpPr>
        <p:spPr bwMode="gray">
          <a:xfrm>
            <a:off x="8039648" y="191732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eftijd</a:t>
            </a:r>
          </a:p>
        </p:txBody>
      </p:sp>
      <p:graphicFrame>
        <p:nvGraphicFramePr>
          <p:cNvPr id="76" name="Chart 75"/>
          <p:cNvGraphicFramePr/>
          <p:nvPr>
            <p:extLst>
              <p:ext uri="{D42A27DB-BD31-4B8C-83A1-F6EECF244321}">
                <p14:modId xmlns:p14="http://schemas.microsoft.com/office/powerpoint/2010/main" val="3500907845"/>
              </p:ext>
            </p:extLst>
          </p:nvPr>
        </p:nvGraphicFramePr>
        <p:xfrm>
          <a:off x="7242100" y="2134448"/>
          <a:ext cx="2424182" cy="1390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77" name="Picture 2" descr="C:\Users\karolien.smets\Pictures\NL_land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4969" y="2298266"/>
            <a:ext cx="576677" cy="19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3" descr="C:\Users\karolien.smets\Pictures\FR_land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2444" y="3205893"/>
            <a:ext cx="528801" cy="287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6" descr="File:Flag map of Brussels.sv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0269" y="2746114"/>
            <a:ext cx="266076" cy="235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TextBox 29"/>
          <p:cNvSpPr txBox="1"/>
          <p:nvPr/>
        </p:nvSpPr>
        <p:spPr bwMode="gray">
          <a:xfrm>
            <a:off x="10481413" y="2303200"/>
            <a:ext cx="475698" cy="18466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65%</a:t>
            </a:r>
          </a:p>
        </p:txBody>
      </p:sp>
      <p:sp>
        <p:nvSpPr>
          <p:cNvPr id="81" name="TextBox 29"/>
          <p:cNvSpPr txBox="1"/>
          <p:nvPr/>
        </p:nvSpPr>
        <p:spPr bwMode="gray">
          <a:xfrm>
            <a:off x="10450337" y="2792794"/>
            <a:ext cx="50677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4%</a:t>
            </a:r>
          </a:p>
        </p:txBody>
      </p:sp>
      <p:sp>
        <p:nvSpPr>
          <p:cNvPr id="82" name="TextBox 29"/>
          <p:cNvSpPr txBox="1"/>
          <p:nvPr/>
        </p:nvSpPr>
        <p:spPr bwMode="gray">
          <a:xfrm>
            <a:off x="10455093" y="3235210"/>
            <a:ext cx="50677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27%</a:t>
            </a:r>
          </a:p>
        </p:txBody>
      </p:sp>
      <p:sp>
        <p:nvSpPr>
          <p:cNvPr id="83" name="TextBox 82"/>
          <p:cNvSpPr txBox="1"/>
          <p:nvPr/>
        </p:nvSpPr>
        <p:spPr bwMode="gray">
          <a:xfrm>
            <a:off x="9711208" y="192258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gio</a:t>
            </a:r>
          </a:p>
        </p:txBody>
      </p:sp>
      <p:sp>
        <p:nvSpPr>
          <p:cNvPr id="85" name="TextBox 84"/>
          <p:cNvSpPr txBox="1"/>
          <p:nvPr/>
        </p:nvSpPr>
        <p:spPr bwMode="gray">
          <a:xfrm>
            <a:off x="1280536" y="3902780"/>
            <a:ext cx="430985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56%</a:t>
            </a:r>
            <a:r>
              <a:rPr lang="nl-BE" sz="16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eft minstens één keer onvoorzichtig gedrag gesteld in de buurt van een overweg</a:t>
            </a:r>
          </a:p>
        </p:txBody>
      </p:sp>
      <p:cxnSp>
        <p:nvCxnSpPr>
          <p:cNvPr id="87" name="Straight Connector 86"/>
          <p:cNvCxnSpPr/>
          <p:nvPr/>
        </p:nvCxnSpPr>
        <p:spPr>
          <a:xfrm flipV="1">
            <a:off x="8895862" y="4077072"/>
            <a:ext cx="90000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7"/>
          <p:cNvSpPr txBox="1"/>
          <p:nvPr/>
        </p:nvSpPr>
        <p:spPr bwMode="gray">
          <a:xfrm>
            <a:off x="10155629" y="4206982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37%</a:t>
            </a:r>
          </a:p>
        </p:txBody>
      </p:sp>
      <p:sp>
        <p:nvSpPr>
          <p:cNvPr id="89" name="TextBox 88"/>
          <p:cNvSpPr txBox="1"/>
          <p:nvPr/>
        </p:nvSpPr>
        <p:spPr bwMode="gray">
          <a:xfrm>
            <a:off x="8586923" y="4133141"/>
            <a:ext cx="189449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bruik van smartphone in het verkeer als voetganger</a:t>
            </a:r>
          </a:p>
        </p:txBody>
      </p:sp>
      <p:sp>
        <p:nvSpPr>
          <p:cNvPr id="90" name="TextBox 89"/>
          <p:cNvSpPr txBox="1"/>
          <p:nvPr/>
        </p:nvSpPr>
        <p:spPr bwMode="gray">
          <a:xfrm>
            <a:off x="10179270" y="4653716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36%</a:t>
            </a:r>
          </a:p>
        </p:txBody>
      </p:sp>
      <p:sp>
        <p:nvSpPr>
          <p:cNvPr id="91" name="TextBox 90"/>
          <p:cNvSpPr txBox="1"/>
          <p:nvPr/>
        </p:nvSpPr>
        <p:spPr bwMode="gray">
          <a:xfrm>
            <a:off x="8570926" y="4964549"/>
            <a:ext cx="186855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en overweg gebruiken wanneer het zicht beperkt is</a:t>
            </a:r>
          </a:p>
        </p:txBody>
      </p:sp>
      <p:sp>
        <p:nvSpPr>
          <p:cNvPr id="92" name="TextBox 91"/>
          <p:cNvSpPr txBox="1"/>
          <p:nvPr/>
        </p:nvSpPr>
        <p:spPr bwMode="gray">
          <a:xfrm>
            <a:off x="10192945" y="5072748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1%</a:t>
            </a:r>
          </a:p>
        </p:txBody>
      </p:sp>
      <p:sp>
        <p:nvSpPr>
          <p:cNvPr id="93" name="TextBox 92"/>
          <p:cNvSpPr txBox="1"/>
          <p:nvPr/>
        </p:nvSpPr>
        <p:spPr bwMode="gray">
          <a:xfrm>
            <a:off x="8747577" y="4552751"/>
            <a:ext cx="13905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aten terwijl je een overweg oversteekt</a:t>
            </a:r>
          </a:p>
        </p:txBody>
      </p:sp>
      <p:sp>
        <p:nvSpPr>
          <p:cNvPr id="94" name="Freeform 1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668729" y="3664250"/>
            <a:ext cx="292481" cy="340814"/>
          </a:xfrm>
          <a:custGeom>
            <a:avLst/>
            <a:gdLst>
              <a:gd name="T0" fmla="*/ 68 w 1693"/>
              <a:gd name="T1" fmla="*/ 1211 h 1973"/>
              <a:gd name="T2" fmla="*/ 8 w 1693"/>
              <a:gd name="T3" fmla="*/ 900 h 1973"/>
              <a:gd name="T4" fmla="*/ 108 w 1693"/>
              <a:gd name="T5" fmla="*/ 558 h 1973"/>
              <a:gd name="T6" fmla="*/ 340 w 1693"/>
              <a:gd name="T7" fmla="*/ 409 h 1973"/>
              <a:gd name="T8" fmla="*/ 680 w 1693"/>
              <a:gd name="T9" fmla="*/ 705 h 1973"/>
              <a:gd name="T10" fmla="*/ 694 w 1693"/>
              <a:gd name="T11" fmla="*/ 1022 h 1973"/>
              <a:gd name="T12" fmla="*/ 704 w 1693"/>
              <a:gd name="T13" fmla="*/ 1334 h 1973"/>
              <a:gd name="T14" fmla="*/ 711 w 1693"/>
              <a:gd name="T15" fmla="*/ 1369 h 1973"/>
              <a:gd name="T16" fmla="*/ 204 w 1693"/>
              <a:gd name="T17" fmla="*/ 1528 h 1973"/>
              <a:gd name="T18" fmla="*/ 188 w 1693"/>
              <a:gd name="T19" fmla="*/ 1496 h 1973"/>
              <a:gd name="T20" fmla="*/ 68 w 1693"/>
              <a:gd name="T21" fmla="*/ 1211 h 1973"/>
              <a:gd name="T22" fmla="*/ 709 w 1693"/>
              <a:gd name="T23" fmla="*/ 1480 h 1973"/>
              <a:gd name="T24" fmla="*/ 738 w 1693"/>
              <a:gd name="T25" fmla="*/ 1558 h 1973"/>
              <a:gd name="T26" fmla="*/ 610 w 1693"/>
              <a:gd name="T27" fmla="*/ 1929 h 1973"/>
              <a:gd name="T28" fmla="*/ 557 w 1693"/>
              <a:gd name="T29" fmla="*/ 1945 h 1973"/>
              <a:gd name="T30" fmla="*/ 247 w 1693"/>
              <a:gd name="T31" fmla="*/ 1712 h 1973"/>
              <a:gd name="T32" fmla="*/ 230 w 1693"/>
              <a:gd name="T33" fmla="*/ 1636 h 1973"/>
              <a:gd name="T34" fmla="*/ 709 w 1693"/>
              <a:gd name="T35" fmla="*/ 1480 h 1973"/>
              <a:gd name="T36" fmla="*/ 1685 w 1693"/>
              <a:gd name="T37" fmla="*/ 501 h 1973"/>
              <a:gd name="T38" fmla="*/ 1625 w 1693"/>
              <a:gd name="T39" fmla="*/ 813 h 1973"/>
              <a:gd name="T40" fmla="*/ 1504 w 1693"/>
              <a:gd name="T41" fmla="*/ 1098 h 1973"/>
              <a:gd name="T42" fmla="*/ 1489 w 1693"/>
              <a:gd name="T43" fmla="*/ 1129 h 1973"/>
              <a:gd name="T44" fmla="*/ 982 w 1693"/>
              <a:gd name="T45" fmla="*/ 970 h 1973"/>
              <a:gd name="T46" fmla="*/ 989 w 1693"/>
              <a:gd name="T47" fmla="*/ 935 h 1973"/>
              <a:gd name="T48" fmla="*/ 999 w 1693"/>
              <a:gd name="T49" fmla="*/ 624 h 1973"/>
              <a:gd name="T50" fmla="*/ 1013 w 1693"/>
              <a:gd name="T51" fmla="*/ 307 h 1973"/>
              <a:gd name="T52" fmla="*/ 1352 w 1693"/>
              <a:gd name="T53" fmla="*/ 10 h 1973"/>
              <a:gd name="T54" fmla="*/ 1584 w 1693"/>
              <a:gd name="T55" fmla="*/ 159 h 1973"/>
              <a:gd name="T56" fmla="*/ 1685 w 1693"/>
              <a:gd name="T57" fmla="*/ 501 h 1973"/>
              <a:gd name="T58" fmla="*/ 1463 w 1693"/>
              <a:gd name="T59" fmla="*/ 1238 h 1973"/>
              <a:gd name="T60" fmla="*/ 1456 w 1693"/>
              <a:gd name="T61" fmla="*/ 1272 h 1973"/>
              <a:gd name="T62" fmla="*/ 1446 w 1693"/>
              <a:gd name="T63" fmla="*/ 1314 h 1973"/>
              <a:gd name="T64" fmla="*/ 1136 w 1693"/>
              <a:gd name="T65" fmla="*/ 1546 h 1973"/>
              <a:gd name="T66" fmla="*/ 1105 w 1693"/>
              <a:gd name="T67" fmla="*/ 1539 h 1973"/>
              <a:gd name="T68" fmla="*/ 1082 w 1693"/>
              <a:gd name="T69" fmla="*/ 1531 h 1973"/>
              <a:gd name="T70" fmla="*/ 954 w 1693"/>
              <a:gd name="T71" fmla="*/ 1160 h 1973"/>
              <a:gd name="T72" fmla="*/ 970 w 1693"/>
              <a:gd name="T73" fmla="*/ 1117 h 1973"/>
              <a:gd name="T74" fmla="*/ 984 w 1693"/>
              <a:gd name="T75" fmla="*/ 1082 h 1973"/>
              <a:gd name="T76" fmla="*/ 1463 w 1693"/>
              <a:gd name="T77" fmla="*/ 1238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3" h="1973">
                <a:moveTo>
                  <a:pt x="68" y="1211"/>
                </a:moveTo>
                <a:cubicBezTo>
                  <a:pt x="36" y="1116"/>
                  <a:pt x="16" y="1018"/>
                  <a:pt x="8" y="900"/>
                </a:cubicBezTo>
                <a:cubicBezTo>
                  <a:pt x="0" y="783"/>
                  <a:pt x="40" y="653"/>
                  <a:pt x="108" y="558"/>
                </a:cubicBezTo>
                <a:cubicBezTo>
                  <a:pt x="163" y="481"/>
                  <a:pt x="243" y="416"/>
                  <a:pt x="340" y="409"/>
                </a:cubicBezTo>
                <a:cubicBezTo>
                  <a:pt x="504" y="398"/>
                  <a:pt x="640" y="560"/>
                  <a:pt x="680" y="705"/>
                </a:cubicBezTo>
                <a:cubicBezTo>
                  <a:pt x="709" y="810"/>
                  <a:pt x="703" y="915"/>
                  <a:pt x="694" y="1022"/>
                </a:cubicBezTo>
                <a:cubicBezTo>
                  <a:pt x="682" y="1148"/>
                  <a:pt x="678" y="1199"/>
                  <a:pt x="704" y="1334"/>
                </a:cubicBezTo>
                <a:cubicBezTo>
                  <a:pt x="711" y="1369"/>
                  <a:pt x="711" y="1369"/>
                  <a:pt x="711" y="1369"/>
                </a:cubicBezTo>
                <a:cubicBezTo>
                  <a:pt x="542" y="1422"/>
                  <a:pt x="373" y="1474"/>
                  <a:pt x="204" y="1528"/>
                </a:cubicBezTo>
                <a:cubicBezTo>
                  <a:pt x="188" y="1496"/>
                  <a:pt x="188" y="1496"/>
                  <a:pt x="188" y="1496"/>
                </a:cubicBezTo>
                <a:cubicBezTo>
                  <a:pt x="139" y="1396"/>
                  <a:pt x="98" y="1306"/>
                  <a:pt x="68" y="1211"/>
                </a:cubicBezTo>
                <a:close/>
                <a:moveTo>
                  <a:pt x="709" y="1480"/>
                </a:moveTo>
                <a:cubicBezTo>
                  <a:pt x="720" y="1506"/>
                  <a:pt x="730" y="1532"/>
                  <a:pt x="738" y="1558"/>
                </a:cubicBezTo>
                <a:cubicBezTo>
                  <a:pt x="782" y="1701"/>
                  <a:pt x="767" y="1867"/>
                  <a:pt x="610" y="1929"/>
                </a:cubicBezTo>
                <a:cubicBezTo>
                  <a:pt x="593" y="1936"/>
                  <a:pt x="575" y="1941"/>
                  <a:pt x="557" y="1945"/>
                </a:cubicBezTo>
                <a:cubicBezTo>
                  <a:pt x="402" y="1973"/>
                  <a:pt x="288" y="1849"/>
                  <a:pt x="247" y="1712"/>
                </a:cubicBezTo>
                <a:cubicBezTo>
                  <a:pt x="239" y="1687"/>
                  <a:pt x="235" y="1662"/>
                  <a:pt x="230" y="1636"/>
                </a:cubicBezTo>
                <a:lnTo>
                  <a:pt x="709" y="1480"/>
                </a:lnTo>
                <a:close/>
                <a:moveTo>
                  <a:pt x="1685" y="501"/>
                </a:moveTo>
                <a:cubicBezTo>
                  <a:pt x="1677" y="619"/>
                  <a:pt x="1656" y="718"/>
                  <a:pt x="1625" y="813"/>
                </a:cubicBezTo>
                <a:cubicBezTo>
                  <a:pt x="1594" y="908"/>
                  <a:pt x="1553" y="997"/>
                  <a:pt x="1504" y="1098"/>
                </a:cubicBezTo>
                <a:cubicBezTo>
                  <a:pt x="1489" y="1129"/>
                  <a:pt x="1489" y="1129"/>
                  <a:pt x="1489" y="1129"/>
                </a:cubicBezTo>
                <a:cubicBezTo>
                  <a:pt x="982" y="970"/>
                  <a:pt x="982" y="970"/>
                  <a:pt x="982" y="970"/>
                </a:cubicBezTo>
                <a:cubicBezTo>
                  <a:pt x="989" y="935"/>
                  <a:pt x="989" y="935"/>
                  <a:pt x="989" y="935"/>
                </a:cubicBezTo>
                <a:cubicBezTo>
                  <a:pt x="1015" y="801"/>
                  <a:pt x="1011" y="750"/>
                  <a:pt x="999" y="624"/>
                </a:cubicBezTo>
                <a:cubicBezTo>
                  <a:pt x="990" y="517"/>
                  <a:pt x="984" y="412"/>
                  <a:pt x="1013" y="307"/>
                </a:cubicBezTo>
                <a:cubicBezTo>
                  <a:pt x="1053" y="162"/>
                  <a:pt x="1189" y="0"/>
                  <a:pt x="1352" y="10"/>
                </a:cubicBezTo>
                <a:cubicBezTo>
                  <a:pt x="1450" y="17"/>
                  <a:pt x="1530" y="83"/>
                  <a:pt x="1584" y="159"/>
                </a:cubicBezTo>
                <a:cubicBezTo>
                  <a:pt x="1652" y="255"/>
                  <a:pt x="1693" y="385"/>
                  <a:pt x="1685" y="501"/>
                </a:cubicBezTo>
                <a:close/>
                <a:moveTo>
                  <a:pt x="1463" y="1238"/>
                </a:moveTo>
                <a:cubicBezTo>
                  <a:pt x="1456" y="1272"/>
                  <a:pt x="1456" y="1272"/>
                  <a:pt x="1456" y="1272"/>
                </a:cubicBezTo>
                <a:cubicBezTo>
                  <a:pt x="1454" y="1286"/>
                  <a:pt x="1450" y="1300"/>
                  <a:pt x="1446" y="1314"/>
                </a:cubicBezTo>
                <a:cubicBezTo>
                  <a:pt x="1404" y="1451"/>
                  <a:pt x="1291" y="1575"/>
                  <a:pt x="1136" y="1546"/>
                </a:cubicBezTo>
                <a:cubicBezTo>
                  <a:pt x="1126" y="1544"/>
                  <a:pt x="1115" y="1542"/>
                  <a:pt x="1105" y="1539"/>
                </a:cubicBezTo>
                <a:cubicBezTo>
                  <a:pt x="1097" y="1536"/>
                  <a:pt x="1090" y="1534"/>
                  <a:pt x="1082" y="1531"/>
                </a:cubicBezTo>
                <a:cubicBezTo>
                  <a:pt x="895" y="1456"/>
                  <a:pt x="904" y="1323"/>
                  <a:pt x="954" y="1160"/>
                </a:cubicBezTo>
                <a:cubicBezTo>
                  <a:pt x="959" y="1146"/>
                  <a:pt x="964" y="1131"/>
                  <a:pt x="970" y="1117"/>
                </a:cubicBezTo>
                <a:cubicBezTo>
                  <a:pt x="984" y="1082"/>
                  <a:pt x="984" y="1082"/>
                  <a:pt x="984" y="1082"/>
                </a:cubicBezTo>
                <a:lnTo>
                  <a:pt x="1463" y="1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 bwMode="gray">
          <a:xfrm>
            <a:off x="8140011" y="5518973"/>
            <a:ext cx="314560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nbewuste Overstekers </a:t>
            </a:r>
            <a:r>
              <a:rPr lang="nl-BE" sz="1400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schouwen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b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 meeste van de genoemde </a:t>
            </a:r>
            <a:r>
              <a:rPr lang="nl-BE" sz="1400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sicogedragingen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als </a:t>
            </a:r>
            <a:r>
              <a:rPr lang="nl-BE" sz="1400" b="1" dirty="0">
                <a:solidFill>
                  <a:srgbClr val="F0AB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iet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echt gevaarlijk.</a:t>
            </a:r>
          </a:p>
        </p:txBody>
      </p:sp>
      <p:grpSp>
        <p:nvGrpSpPr>
          <p:cNvPr id="97" name="Group 15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262747" y="5025020"/>
            <a:ext cx="231514" cy="234623"/>
            <a:chOff x="423" y="-837"/>
            <a:chExt cx="4914" cy="4980"/>
          </a:xfrm>
          <a:solidFill>
            <a:schemeClr val="tx1"/>
          </a:solidFill>
        </p:grpSpPr>
        <p:sp>
          <p:nvSpPr>
            <p:cNvPr id="98" name="Freeform 16"/>
            <p:cNvSpPr>
              <a:spLocks noEditPoints="1"/>
            </p:cNvSpPr>
            <p:nvPr/>
          </p:nvSpPr>
          <p:spPr bwMode="auto">
            <a:xfrm>
              <a:off x="1302" y="1816"/>
              <a:ext cx="2915" cy="2327"/>
            </a:xfrm>
            <a:custGeom>
              <a:avLst/>
              <a:gdLst>
                <a:gd name="T0" fmla="*/ 748 w 1234"/>
                <a:gd name="T1" fmla="*/ 482 h 985"/>
                <a:gd name="T2" fmla="*/ 748 w 1234"/>
                <a:gd name="T3" fmla="*/ 652 h 985"/>
                <a:gd name="T4" fmla="*/ 721 w 1234"/>
                <a:gd name="T5" fmla="*/ 857 h 985"/>
                <a:gd name="T6" fmla="*/ 448 w 1234"/>
                <a:gd name="T7" fmla="*/ 930 h 985"/>
                <a:gd name="T8" fmla="*/ 375 w 1234"/>
                <a:gd name="T9" fmla="*/ 657 h 985"/>
                <a:gd name="T10" fmla="*/ 539 w 1234"/>
                <a:gd name="T11" fmla="*/ 531 h 985"/>
                <a:gd name="T12" fmla="*/ 686 w 1234"/>
                <a:gd name="T13" fmla="*/ 447 h 985"/>
                <a:gd name="T14" fmla="*/ 753 w 1234"/>
                <a:gd name="T15" fmla="*/ 403 h 985"/>
                <a:gd name="T16" fmla="*/ 748 w 1234"/>
                <a:gd name="T17" fmla="*/ 482 h 985"/>
                <a:gd name="T18" fmla="*/ 428 w 1234"/>
                <a:gd name="T19" fmla="*/ 79 h 985"/>
                <a:gd name="T20" fmla="*/ 428 w 1234"/>
                <a:gd name="T21" fmla="*/ 249 h 985"/>
                <a:gd name="T22" fmla="*/ 401 w 1234"/>
                <a:gd name="T23" fmla="*/ 454 h 985"/>
                <a:gd name="T24" fmla="*/ 128 w 1234"/>
                <a:gd name="T25" fmla="*/ 527 h 985"/>
                <a:gd name="T26" fmla="*/ 55 w 1234"/>
                <a:gd name="T27" fmla="*/ 254 h 985"/>
                <a:gd name="T28" fmla="*/ 219 w 1234"/>
                <a:gd name="T29" fmla="*/ 129 h 985"/>
                <a:gd name="T30" fmla="*/ 366 w 1234"/>
                <a:gd name="T31" fmla="*/ 44 h 985"/>
                <a:gd name="T32" fmla="*/ 433 w 1234"/>
                <a:gd name="T33" fmla="*/ 0 h 985"/>
                <a:gd name="T34" fmla="*/ 428 w 1234"/>
                <a:gd name="T35" fmla="*/ 79 h 985"/>
                <a:gd name="T36" fmla="*/ 1228 w 1234"/>
                <a:gd name="T37" fmla="*/ 82 h 985"/>
                <a:gd name="T38" fmla="*/ 1228 w 1234"/>
                <a:gd name="T39" fmla="*/ 252 h 985"/>
                <a:gd name="T40" fmla="*/ 1201 w 1234"/>
                <a:gd name="T41" fmla="*/ 457 h 985"/>
                <a:gd name="T42" fmla="*/ 928 w 1234"/>
                <a:gd name="T43" fmla="*/ 530 h 985"/>
                <a:gd name="T44" fmla="*/ 855 w 1234"/>
                <a:gd name="T45" fmla="*/ 257 h 985"/>
                <a:gd name="T46" fmla="*/ 1019 w 1234"/>
                <a:gd name="T47" fmla="*/ 131 h 985"/>
                <a:gd name="T48" fmla="*/ 1166 w 1234"/>
                <a:gd name="T49" fmla="*/ 47 h 985"/>
                <a:gd name="T50" fmla="*/ 1233 w 1234"/>
                <a:gd name="T51" fmla="*/ 3 h 985"/>
                <a:gd name="T52" fmla="*/ 1228 w 1234"/>
                <a:gd name="T53" fmla="*/ 82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34" h="985">
                  <a:moveTo>
                    <a:pt x="748" y="482"/>
                  </a:moveTo>
                  <a:cubicBezTo>
                    <a:pt x="744" y="549"/>
                    <a:pt x="746" y="605"/>
                    <a:pt x="748" y="652"/>
                  </a:cubicBezTo>
                  <a:cubicBezTo>
                    <a:pt x="752" y="738"/>
                    <a:pt x="754" y="800"/>
                    <a:pt x="721" y="857"/>
                  </a:cubicBezTo>
                  <a:cubicBezTo>
                    <a:pt x="666" y="953"/>
                    <a:pt x="544" y="985"/>
                    <a:pt x="448" y="930"/>
                  </a:cubicBezTo>
                  <a:cubicBezTo>
                    <a:pt x="352" y="875"/>
                    <a:pt x="320" y="753"/>
                    <a:pt x="375" y="657"/>
                  </a:cubicBezTo>
                  <a:cubicBezTo>
                    <a:pt x="408" y="600"/>
                    <a:pt x="463" y="571"/>
                    <a:pt x="539" y="531"/>
                  </a:cubicBezTo>
                  <a:cubicBezTo>
                    <a:pt x="581" y="509"/>
                    <a:pt x="630" y="483"/>
                    <a:pt x="686" y="447"/>
                  </a:cubicBezTo>
                  <a:cubicBezTo>
                    <a:pt x="753" y="403"/>
                    <a:pt x="753" y="403"/>
                    <a:pt x="753" y="403"/>
                  </a:cubicBezTo>
                  <a:lnTo>
                    <a:pt x="748" y="482"/>
                  </a:lnTo>
                  <a:close/>
                  <a:moveTo>
                    <a:pt x="428" y="79"/>
                  </a:moveTo>
                  <a:cubicBezTo>
                    <a:pt x="424" y="146"/>
                    <a:pt x="426" y="202"/>
                    <a:pt x="428" y="249"/>
                  </a:cubicBezTo>
                  <a:cubicBezTo>
                    <a:pt x="432" y="335"/>
                    <a:pt x="434" y="397"/>
                    <a:pt x="401" y="454"/>
                  </a:cubicBezTo>
                  <a:cubicBezTo>
                    <a:pt x="346" y="550"/>
                    <a:pt x="224" y="583"/>
                    <a:pt x="128" y="527"/>
                  </a:cubicBezTo>
                  <a:cubicBezTo>
                    <a:pt x="32" y="472"/>
                    <a:pt x="0" y="350"/>
                    <a:pt x="55" y="254"/>
                  </a:cubicBezTo>
                  <a:cubicBezTo>
                    <a:pt x="88" y="197"/>
                    <a:pt x="143" y="168"/>
                    <a:pt x="219" y="129"/>
                  </a:cubicBezTo>
                  <a:cubicBezTo>
                    <a:pt x="261" y="107"/>
                    <a:pt x="310" y="81"/>
                    <a:pt x="366" y="44"/>
                  </a:cubicBezTo>
                  <a:cubicBezTo>
                    <a:pt x="433" y="0"/>
                    <a:pt x="433" y="0"/>
                    <a:pt x="433" y="0"/>
                  </a:cubicBezTo>
                  <a:lnTo>
                    <a:pt x="428" y="79"/>
                  </a:lnTo>
                  <a:close/>
                  <a:moveTo>
                    <a:pt x="1228" y="82"/>
                  </a:moveTo>
                  <a:cubicBezTo>
                    <a:pt x="1224" y="149"/>
                    <a:pt x="1226" y="205"/>
                    <a:pt x="1228" y="252"/>
                  </a:cubicBezTo>
                  <a:cubicBezTo>
                    <a:pt x="1232" y="338"/>
                    <a:pt x="1234" y="400"/>
                    <a:pt x="1201" y="457"/>
                  </a:cubicBezTo>
                  <a:cubicBezTo>
                    <a:pt x="1146" y="553"/>
                    <a:pt x="1024" y="585"/>
                    <a:pt x="928" y="530"/>
                  </a:cubicBezTo>
                  <a:cubicBezTo>
                    <a:pt x="832" y="475"/>
                    <a:pt x="800" y="353"/>
                    <a:pt x="855" y="257"/>
                  </a:cubicBezTo>
                  <a:cubicBezTo>
                    <a:pt x="888" y="200"/>
                    <a:pt x="943" y="171"/>
                    <a:pt x="1019" y="131"/>
                  </a:cubicBezTo>
                  <a:cubicBezTo>
                    <a:pt x="1061" y="109"/>
                    <a:pt x="1110" y="83"/>
                    <a:pt x="1166" y="47"/>
                  </a:cubicBezTo>
                  <a:cubicBezTo>
                    <a:pt x="1233" y="3"/>
                    <a:pt x="1233" y="3"/>
                    <a:pt x="1233" y="3"/>
                  </a:cubicBezTo>
                  <a:lnTo>
                    <a:pt x="1228" y="82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17"/>
            <p:cNvSpPr>
              <a:spLocks/>
            </p:cNvSpPr>
            <p:nvPr/>
          </p:nvSpPr>
          <p:spPr bwMode="auto">
            <a:xfrm>
              <a:off x="423" y="-837"/>
              <a:ext cx="4914" cy="3402"/>
            </a:xfrm>
            <a:custGeom>
              <a:avLst/>
              <a:gdLst>
                <a:gd name="T0" fmla="*/ 326 w 2080"/>
                <a:gd name="T1" fmla="*/ 1420 h 1440"/>
                <a:gd name="T2" fmla="*/ 0 w 2080"/>
                <a:gd name="T3" fmla="*/ 986 h 1440"/>
                <a:gd name="T4" fmla="*/ 307 w 2080"/>
                <a:gd name="T5" fmla="*/ 555 h 1440"/>
                <a:gd name="T6" fmla="*/ 786 w 2080"/>
                <a:gd name="T7" fmla="*/ 3 h 1440"/>
                <a:gd name="T8" fmla="*/ 847 w 2080"/>
                <a:gd name="T9" fmla="*/ 0 h 1440"/>
                <a:gd name="T10" fmla="*/ 1292 w 2080"/>
                <a:gd name="T11" fmla="*/ 231 h 1440"/>
                <a:gd name="T12" fmla="*/ 1702 w 2080"/>
                <a:gd name="T13" fmla="*/ 292 h 1440"/>
                <a:gd name="T14" fmla="*/ 1852 w 2080"/>
                <a:gd name="T15" fmla="*/ 714 h 1440"/>
                <a:gd name="T16" fmla="*/ 2080 w 2080"/>
                <a:gd name="T17" fmla="*/ 1062 h 1440"/>
                <a:gd name="T18" fmla="*/ 1696 w 2080"/>
                <a:gd name="T19" fmla="*/ 1440 h 1440"/>
                <a:gd name="T20" fmla="*/ 1682 w 2080"/>
                <a:gd name="T21" fmla="*/ 1440 h 1440"/>
                <a:gd name="T22" fmla="*/ 1680 w 2080"/>
                <a:gd name="T23" fmla="*/ 1372 h 1440"/>
                <a:gd name="T24" fmla="*/ 1680 w 2080"/>
                <a:gd name="T25" fmla="*/ 1210 h 1440"/>
                <a:gd name="T26" fmla="*/ 1684 w 2080"/>
                <a:gd name="T27" fmla="*/ 1130 h 1440"/>
                <a:gd name="T28" fmla="*/ 1645 w 2080"/>
                <a:gd name="T29" fmla="*/ 1056 h 1440"/>
                <a:gd name="T30" fmla="*/ 1560 w 2080"/>
                <a:gd name="T31" fmla="*/ 1059 h 1440"/>
                <a:gd name="T32" fmla="*/ 1494 w 2080"/>
                <a:gd name="T33" fmla="*/ 1103 h 1440"/>
                <a:gd name="T34" fmla="*/ 1354 w 2080"/>
                <a:gd name="T35" fmla="*/ 1184 h 1440"/>
                <a:gd name="T36" fmla="*/ 1158 w 2080"/>
                <a:gd name="T37" fmla="*/ 1340 h 1440"/>
                <a:gd name="T38" fmla="*/ 1123 w 2080"/>
                <a:gd name="T39" fmla="*/ 1440 h 1440"/>
                <a:gd name="T40" fmla="*/ 882 w 2080"/>
                <a:gd name="T41" fmla="*/ 1440 h 1440"/>
                <a:gd name="T42" fmla="*/ 880 w 2080"/>
                <a:gd name="T43" fmla="*/ 1369 h 1440"/>
                <a:gd name="T44" fmla="*/ 880 w 2080"/>
                <a:gd name="T45" fmla="*/ 1207 h 1440"/>
                <a:gd name="T46" fmla="*/ 884 w 2080"/>
                <a:gd name="T47" fmla="*/ 1128 h 1440"/>
                <a:gd name="T48" fmla="*/ 845 w 2080"/>
                <a:gd name="T49" fmla="*/ 1054 h 1440"/>
                <a:gd name="T50" fmla="*/ 760 w 2080"/>
                <a:gd name="T51" fmla="*/ 1056 h 1440"/>
                <a:gd name="T52" fmla="*/ 694 w 2080"/>
                <a:gd name="T53" fmla="*/ 1100 h 1440"/>
                <a:gd name="T54" fmla="*/ 554 w 2080"/>
                <a:gd name="T55" fmla="*/ 1180 h 1440"/>
                <a:gd name="T56" fmla="*/ 358 w 2080"/>
                <a:gd name="T57" fmla="*/ 1337 h 1440"/>
                <a:gd name="T58" fmla="*/ 326 w 2080"/>
                <a:gd name="T59" fmla="*/ 142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0" h="1440">
                  <a:moveTo>
                    <a:pt x="326" y="1420"/>
                  </a:moveTo>
                  <a:cubicBezTo>
                    <a:pt x="139" y="1363"/>
                    <a:pt x="0" y="1192"/>
                    <a:pt x="0" y="986"/>
                  </a:cubicBezTo>
                  <a:cubicBezTo>
                    <a:pt x="0" y="777"/>
                    <a:pt x="111" y="625"/>
                    <a:pt x="307" y="555"/>
                  </a:cubicBezTo>
                  <a:cubicBezTo>
                    <a:pt x="293" y="260"/>
                    <a:pt x="493" y="30"/>
                    <a:pt x="786" y="3"/>
                  </a:cubicBezTo>
                  <a:cubicBezTo>
                    <a:pt x="807" y="1"/>
                    <a:pt x="828" y="0"/>
                    <a:pt x="847" y="0"/>
                  </a:cubicBezTo>
                  <a:cubicBezTo>
                    <a:pt x="1040" y="0"/>
                    <a:pt x="1175" y="84"/>
                    <a:pt x="1292" y="231"/>
                  </a:cubicBezTo>
                  <a:cubicBezTo>
                    <a:pt x="1430" y="183"/>
                    <a:pt x="1586" y="200"/>
                    <a:pt x="1702" y="292"/>
                  </a:cubicBezTo>
                  <a:cubicBezTo>
                    <a:pt x="1832" y="394"/>
                    <a:pt x="1875" y="555"/>
                    <a:pt x="1852" y="714"/>
                  </a:cubicBezTo>
                  <a:cubicBezTo>
                    <a:pt x="2003" y="784"/>
                    <a:pt x="2080" y="894"/>
                    <a:pt x="2080" y="1062"/>
                  </a:cubicBezTo>
                  <a:cubicBezTo>
                    <a:pt x="2080" y="1273"/>
                    <a:pt x="1905" y="1440"/>
                    <a:pt x="1696" y="1440"/>
                  </a:cubicBezTo>
                  <a:cubicBezTo>
                    <a:pt x="1682" y="1440"/>
                    <a:pt x="1682" y="1440"/>
                    <a:pt x="1682" y="1440"/>
                  </a:cubicBezTo>
                  <a:cubicBezTo>
                    <a:pt x="1682" y="1418"/>
                    <a:pt x="1681" y="1395"/>
                    <a:pt x="1680" y="1372"/>
                  </a:cubicBezTo>
                  <a:cubicBezTo>
                    <a:pt x="1678" y="1318"/>
                    <a:pt x="1676" y="1264"/>
                    <a:pt x="1680" y="1210"/>
                  </a:cubicBezTo>
                  <a:cubicBezTo>
                    <a:pt x="1684" y="1130"/>
                    <a:pt x="1684" y="1130"/>
                    <a:pt x="1684" y="1130"/>
                  </a:cubicBezTo>
                  <a:cubicBezTo>
                    <a:pt x="1686" y="1099"/>
                    <a:pt x="1672" y="1072"/>
                    <a:pt x="1645" y="1056"/>
                  </a:cubicBezTo>
                  <a:cubicBezTo>
                    <a:pt x="1618" y="1041"/>
                    <a:pt x="1586" y="1042"/>
                    <a:pt x="1560" y="1059"/>
                  </a:cubicBezTo>
                  <a:cubicBezTo>
                    <a:pt x="1494" y="1103"/>
                    <a:pt x="1494" y="1103"/>
                    <a:pt x="1494" y="1103"/>
                  </a:cubicBezTo>
                  <a:cubicBezTo>
                    <a:pt x="1448" y="1133"/>
                    <a:pt x="1402" y="1158"/>
                    <a:pt x="1354" y="1184"/>
                  </a:cubicBezTo>
                  <a:cubicBezTo>
                    <a:pt x="1276" y="1224"/>
                    <a:pt x="1203" y="1262"/>
                    <a:pt x="1158" y="1340"/>
                  </a:cubicBezTo>
                  <a:cubicBezTo>
                    <a:pt x="1139" y="1372"/>
                    <a:pt x="1128" y="1406"/>
                    <a:pt x="1123" y="1440"/>
                  </a:cubicBezTo>
                  <a:cubicBezTo>
                    <a:pt x="882" y="1440"/>
                    <a:pt x="882" y="1440"/>
                    <a:pt x="882" y="1440"/>
                  </a:cubicBezTo>
                  <a:cubicBezTo>
                    <a:pt x="882" y="1417"/>
                    <a:pt x="881" y="1393"/>
                    <a:pt x="880" y="1369"/>
                  </a:cubicBezTo>
                  <a:cubicBezTo>
                    <a:pt x="878" y="1315"/>
                    <a:pt x="876" y="1262"/>
                    <a:pt x="880" y="1207"/>
                  </a:cubicBezTo>
                  <a:cubicBezTo>
                    <a:pt x="884" y="1128"/>
                    <a:pt x="884" y="1128"/>
                    <a:pt x="884" y="1128"/>
                  </a:cubicBezTo>
                  <a:cubicBezTo>
                    <a:pt x="886" y="1096"/>
                    <a:pt x="872" y="1069"/>
                    <a:pt x="845" y="1054"/>
                  </a:cubicBezTo>
                  <a:cubicBezTo>
                    <a:pt x="818" y="1038"/>
                    <a:pt x="786" y="1039"/>
                    <a:pt x="760" y="1056"/>
                  </a:cubicBezTo>
                  <a:cubicBezTo>
                    <a:pt x="694" y="1100"/>
                    <a:pt x="694" y="1100"/>
                    <a:pt x="694" y="1100"/>
                  </a:cubicBezTo>
                  <a:cubicBezTo>
                    <a:pt x="648" y="1130"/>
                    <a:pt x="602" y="1155"/>
                    <a:pt x="554" y="1180"/>
                  </a:cubicBezTo>
                  <a:cubicBezTo>
                    <a:pt x="476" y="1221"/>
                    <a:pt x="403" y="1258"/>
                    <a:pt x="358" y="1337"/>
                  </a:cubicBezTo>
                  <a:cubicBezTo>
                    <a:pt x="342" y="1364"/>
                    <a:pt x="332" y="1392"/>
                    <a:pt x="326" y="142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0" name="Group 22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264572" y="4178571"/>
            <a:ext cx="227864" cy="227953"/>
            <a:chOff x="331" y="-931"/>
            <a:chExt cx="5102" cy="5104"/>
          </a:xfrm>
          <a:solidFill>
            <a:schemeClr val="tx1"/>
          </a:solidFill>
        </p:grpSpPr>
        <p:sp>
          <p:nvSpPr>
            <p:cNvPr id="101" name="Freeform 23"/>
            <p:cNvSpPr>
              <a:spLocks/>
            </p:cNvSpPr>
            <p:nvPr/>
          </p:nvSpPr>
          <p:spPr bwMode="auto">
            <a:xfrm>
              <a:off x="2585" y="-931"/>
              <a:ext cx="2848" cy="4349"/>
            </a:xfrm>
            <a:custGeom>
              <a:avLst/>
              <a:gdLst>
                <a:gd name="T0" fmla="*/ 19 w 1206"/>
                <a:gd name="T1" fmla="*/ 558 h 1841"/>
                <a:gd name="T2" fmla="*/ 6 w 1206"/>
                <a:gd name="T3" fmla="*/ 348 h 1841"/>
                <a:gd name="T4" fmla="*/ 10 w 1206"/>
                <a:gd name="T5" fmla="*/ 286 h 1841"/>
                <a:gd name="T6" fmla="*/ 141 w 1206"/>
                <a:gd name="T7" fmla="*/ 78 h 1841"/>
                <a:gd name="T8" fmla="*/ 376 w 1206"/>
                <a:gd name="T9" fmla="*/ 2 h 1841"/>
                <a:gd name="T10" fmla="*/ 566 w 1206"/>
                <a:gd name="T11" fmla="*/ 49 h 1841"/>
                <a:gd name="T12" fmla="*/ 661 w 1206"/>
                <a:gd name="T13" fmla="*/ 37 h 1841"/>
                <a:gd name="T14" fmla="*/ 898 w 1206"/>
                <a:gd name="T15" fmla="*/ 212 h 1841"/>
                <a:gd name="T16" fmla="*/ 926 w 1206"/>
                <a:gd name="T17" fmla="*/ 346 h 1841"/>
                <a:gd name="T18" fmla="*/ 912 w 1206"/>
                <a:gd name="T19" fmla="*/ 558 h 1841"/>
                <a:gd name="T20" fmla="*/ 837 w 1206"/>
                <a:gd name="T21" fmla="*/ 772 h 1841"/>
                <a:gd name="T22" fmla="*/ 716 w 1206"/>
                <a:gd name="T23" fmla="*/ 1010 h 1841"/>
                <a:gd name="T24" fmla="*/ 726 w 1206"/>
                <a:gd name="T25" fmla="*/ 1102 h 1841"/>
                <a:gd name="T26" fmla="*/ 766 w 1206"/>
                <a:gd name="T27" fmla="*/ 1170 h 1841"/>
                <a:gd name="T28" fmla="*/ 874 w 1206"/>
                <a:gd name="T29" fmla="*/ 1216 h 1841"/>
                <a:gd name="T30" fmla="*/ 1083 w 1206"/>
                <a:gd name="T31" fmla="*/ 1313 h 1841"/>
                <a:gd name="T32" fmla="*/ 1173 w 1206"/>
                <a:gd name="T33" fmla="*/ 1450 h 1841"/>
                <a:gd name="T34" fmla="*/ 1206 w 1206"/>
                <a:gd name="T35" fmla="*/ 1619 h 1841"/>
                <a:gd name="T36" fmla="*/ 990 w 1206"/>
                <a:gd name="T37" fmla="*/ 1786 h 1841"/>
                <a:gd name="T38" fmla="*/ 466 w 1206"/>
                <a:gd name="T39" fmla="*/ 1841 h 1841"/>
                <a:gd name="T40" fmla="*/ 86 w 1206"/>
                <a:gd name="T41" fmla="*/ 1814 h 1841"/>
                <a:gd name="T42" fmla="*/ 86 w 1206"/>
                <a:gd name="T43" fmla="*/ 1208 h 1841"/>
                <a:gd name="T44" fmla="*/ 205 w 1206"/>
                <a:gd name="T45" fmla="*/ 1102 h 1841"/>
                <a:gd name="T46" fmla="*/ 216 w 1206"/>
                <a:gd name="T47" fmla="*/ 1010 h 1841"/>
                <a:gd name="T48" fmla="*/ 94 w 1206"/>
                <a:gd name="T49" fmla="*/ 772 h 1841"/>
                <a:gd name="T50" fmla="*/ 19 w 1206"/>
                <a:gd name="T51" fmla="*/ 558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6" h="1841">
                  <a:moveTo>
                    <a:pt x="19" y="558"/>
                  </a:moveTo>
                  <a:cubicBezTo>
                    <a:pt x="15" y="490"/>
                    <a:pt x="6" y="415"/>
                    <a:pt x="6" y="348"/>
                  </a:cubicBezTo>
                  <a:cubicBezTo>
                    <a:pt x="5" y="326"/>
                    <a:pt x="6" y="306"/>
                    <a:pt x="10" y="286"/>
                  </a:cubicBezTo>
                  <a:cubicBezTo>
                    <a:pt x="24" y="197"/>
                    <a:pt x="74" y="126"/>
                    <a:pt x="141" y="78"/>
                  </a:cubicBezTo>
                  <a:cubicBezTo>
                    <a:pt x="207" y="30"/>
                    <a:pt x="291" y="3"/>
                    <a:pt x="376" y="2"/>
                  </a:cubicBezTo>
                  <a:cubicBezTo>
                    <a:pt x="447" y="0"/>
                    <a:pt x="505" y="12"/>
                    <a:pt x="566" y="49"/>
                  </a:cubicBezTo>
                  <a:cubicBezTo>
                    <a:pt x="597" y="37"/>
                    <a:pt x="629" y="34"/>
                    <a:pt x="661" y="37"/>
                  </a:cubicBezTo>
                  <a:cubicBezTo>
                    <a:pt x="762" y="46"/>
                    <a:pt x="854" y="122"/>
                    <a:pt x="898" y="212"/>
                  </a:cubicBezTo>
                  <a:cubicBezTo>
                    <a:pt x="919" y="254"/>
                    <a:pt x="930" y="301"/>
                    <a:pt x="926" y="346"/>
                  </a:cubicBezTo>
                  <a:cubicBezTo>
                    <a:pt x="912" y="558"/>
                    <a:pt x="912" y="558"/>
                    <a:pt x="912" y="558"/>
                  </a:cubicBezTo>
                  <a:cubicBezTo>
                    <a:pt x="932" y="636"/>
                    <a:pt x="906" y="727"/>
                    <a:pt x="837" y="772"/>
                  </a:cubicBezTo>
                  <a:cubicBezTo>
                    <a:pt x="814" y="849"/>
                    <a:pt x="770" y="949"/>
                    <a:pt x="716" y="1010"/>
                  </a:cubicBezTo>
                  <a:cubicBezTo>
                    <a:pt x="717" y="1038"/>
                    <a:pt x="719" y="1072"/>
                    <a:pt x="726" y="1102"/>
                  </a:cubicBezTo>
                  <a:cubicBezTo>
                    <a:pt x="733" y="1132"/>
                    <a:pt x="745" y="1159"/>
                    <a:pt x="766" y="1170"/>
                  </a:cubicBezTo>
                  <a:cubicBezTo>
                    <a:pt x="802" y="1194"/>
                    <a:pt x="833" y="1204"/>
                    <a:pt x="874" y="1216"/>
                  </a:cubicBezTo>
                  <a:cubicBezTo>
                    <a:pt x="940" y="1236"/>
                    <a:pt x="1037" y="1268"/>
                    <a:pt x="1083" y="1313"/>
                  </a:cubicBezTo>
                  <a:cubicBezTo>
                    <a:pt x="1122" y="1351"/>
                    <a:pt x="1152" y="1399"/>
                    <a:pt x="1173" y="1450"/>
                  </a:cubicBezTo>
                  <a:cubicBezTo>
                    <a:pt x="1194" y="1505"/>
                    <a:pt x="1206" y="1563"/>
                    <a:pt x="1206" y="1619"/>
                  </a:cubicBezTo>
                  <a:cubicBezTo>
                    <a:pt x="1206" y="1700"/>
                    <a:pt x="1115" y="1753"/>
                    <a:pt x="990" y="1786"/>
                  </a:cubicBezTo>
                  <a:cubicBezTo>
                    <a:pt x="827" y="1828"/>
                    <a:pt x="600" y="1841"/>
                    <a:pt x="466" y="1841"/>
                  </a:cubicBezTo>
                  <a:cubicBezTo>
                    <a:pt x="368" y="1841"/>
                    <a:pt x="221" y="1834"/>
                    <a:pt x="86" y="1814"/>
                  </a:cubicBezTo>
                  <a:cubicBezTo>
                    <a:pt x="86" y="1208"/>
                    <a:pt x="86" y="1208"/>
                    <a:pt x="86" y="1208"/>
                  </a:cubicBezTo>
                  <a:cubicBezTo>
                    <a:pt x="150" y="1187"/>
                    <a:pt x="188" y="1171"/>
                    <a:pt x="205" y="1102"/>
                  </a:cubicBezTo>
                  <a:cubicBezTo>
                    <a:pt x="212" y="1072"/>
                    <a:pt x="215" y="1038"/>
                    <a:pt x="216" y="1010"/>
                  </a:cubicBezTo>
                  <a:cubicBezTo>
                    <a:pt x="162" y="950"/>
                    <a:pt x="118" y="849"/>
                    <a:pt x="94" y="772"/>
                  </a:cubicBezTo>
                  <a:cubicBezTo>
                    <a:pt x="26" y="727"/>
                    <a:pt x="0" y="636"/>
                    <a:pt x="19" y="5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Freeform 24"/>
            <p:cNvSpPr>
              <a:spLocks noEditPoints="1"/>
            </p:cNvSpPr>
            <p:nvPr/>
          </p:nvSpPr>
          <p:spPr bwMode="auto">
            <a:xfrm>
              <a:off x="331" y="772"/>
              <a:ext cx="2268" cy="3401"/>
            </a:xfrm>
            <a:custGeom>
              <a:avLst/>
              <a:gdLst>
                <a:gd name="T0" fmla="*/ 141 w 960"/>
                <a:gd name="T1" fmla="*/ 0 h 1440"/>
                <a:gd name="T2" fmla="*/ 818 w 960"/>
                <a:gd name="T3" fmla="*/ 0 h 1440"/>
                <a:gd name="T4" fmla="*/ 960 w 960"/>
                <a:gd name="T5" fmla="*/ 142 h 1440"/>
                <a:gd name="T6" fmla="*/ 960 w 960"/>
                <a:gd name="T7" fmla="*/ 1299 h 1440"/>
                <a:gd name="T8" fmla="*/ 818 w 960"/>
                <a:gd name="T9" fmla="*/ 1440 h 1440"/>
                <a:gd name="T10" fmla="*/ 141 w 960"/>
                <a:gd name="T11" fmla="*/ 1440 h 1440"/>
                <a:gd name="T12" fmla="*/ 0 w 960"/>
                <a:gd name="T13" fmla="*/ 1299 h 1440"/>
                <a:gd name="T14" fmla="*/ 0 w 960"/>
                <a:gd name="T15" fmla="*/ 142 h 1440"/>
                <a:gd name="T16" fmla="*/ 141 w 960"/>
                <a:gd name="T17" fmla="*/ 0 h 1440"/>
                <a:gd name="T18" fmla="*/ 400 w 960"/>
                <a:gd name="T19" fmla="*/ 200 h 1440"/>
                <a:gd name="T20" fmla="*/ 560 w 960"/>
                <a:gd name="T21" fmla="*/ 200 h 1440"/>
                <a:gd name="T22" fmla="*/ 600 w 960"/>
                <a:gd name="T23" fmla="*/ 160 h 1440"/>
                <a:gd name="T24" fmla="*/ 560 w 960"/>
                <a:gd name="T25" fmla="*/ 120 h 1440"/>
                <a:gd name="T26" fmla="*/ 400 w 960"/>
                <a:gd name="T27" fmla="*/ 120 h 1440"/>
                <a:gd name="T28" fmla="*/ 360 w 960"/>
                <a:gd name="T29" fmla="*/ 160 h 1440"/>
                <a:gd name="T30" fmla="*/ 400 w 960"/>
                <a:gd name="T31" fmla="*/ 200 h 1440"/>
                <a:gd name="T32" fmla="*/ 480 w 960"/>
                <a:gd name="T33" fmla="*/ 1160 h 1440"/>
                <a:gd name="T34" fmla="*/ 400 w 960"/>
                <a:gd name="T35" fmla="*/ 1240 h 1440"/>
                <a:gd name="T36" fmla="*/ 480 w 960"/>
                <a:gd name="T37" fmla="*/ 1320 h 1440"/>
                <a:gd name="T38" fmla="*/ 560 w 960"/>
                <a:gd name="T39" fmla="*/ 1240 h 1440"/>
                <a:gd name="T40" fmla="*/ 480 w 960"/>
                <a:gd name="T41" fmla="*/ 1160 h 1440"/>
                <a:gd name="T42" fmla="*/ 800 w 960"/>
                <a:gd name="T43" fmla="*/ 240 h 1440"/>
                <a:gd name="T44" fmla="*/ 160 w 960"/>
                <a:gd name="T45" fmla="*/ 240 h 1440"/>
                <a:gd name="T46" fmla="*/ 160 w 960"/>
                <a:gd name="T47" fmla="*/ 1120 h 1440"/>
                <a:gd name="T48" fmla="*/ 800 w 960"/>
                <a:gd name="T49" fmla="*/ 1120 h 1440"/>
                <a:gd name="T50" fmla="*/ 800 w 960"/>
                <a:gd name="T51" fmla="*/ 2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0" h="1440">
                  <a:moveTo>
                    <a:pt x="141" y="0"/>
                  </a:moveTo>
                  <a:cubicBezTo>
                    <a:pt x="818" y="0"/>
                    <a:pt x="818" y="0"/>
                    <a:pt x="818" y="0"/>
                  </a:cubicBezTo>
                  <a:cubicBezTo>
                    <a:pt x="896" y="0"/>
                    <a:pt x="960" y="64"/>
                    <a:pt x="960" y="142"/>
                  </a:cubicBezTo>
                  <a:cubicBezTo>
                    <a:pt x="960" y="1299"/>
                    <a:pt x="960" y="1299"/>
                    <a:pt x="960" y="1299"/>
                  </a:cubicBezTo>
                  <a:cubicBezTo>
                    <a:pt x="960" y="1376"/>
                    <a:pt x="896" y="1440"/>
                    <a:pt x="818" y="1440"/>
                  </a:cubicBezTo>
                  <a:cubicBezTo>
                    <a:pt x="141" y="1440"/>
                    <a:pt x="141" y="1440"/>
                    <a:pt x="141" y="1440"/>
                  </a:cubicBezTo>
                  <a:cubicBezTo>
                    <a:pt x="64" y="1440"/>
                    <a:pt x="0" y="1376"/>
                    <a:pt x="0" y="1299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64"/>
                    <a:pt x="63" y="0"/>
                    <a:pt x="141" y="0"/>
                  </a:cubicBezTo>
                  <a:close/>
                  <a:moveTo>
                    <a:pt x="400" y="200"/>
                  </a:moveTo>
                  <a:cubicBezTo>
                    <a:pt x="560" y="200"/>
                    <a:pt x="560" y="200"/>
                    <a:pt x="560" y="200"/>
                  </a:cubicBezTo>
                  <a:cubicBezTo>
                    <a:pt x="582" y="200"/>
                    <a:pt x="600" y="182"/>
                    <a:pt x="600" y="160"/>
                  </a:cubicBezTo>
                  <a:cubicBezTo>
                    <a:pt x="600" y="138"/>
                    <a:pt x="582" y="120"/>
                    <a:pt x="560" y="120"/>
                  </a:cubicBezTo>
                  <a:cubicBezTo>
                    <a:pt x="400" y="120"/>
                    <a:pt x="400" y="120"/>
                    <a:pt x="400" y="120"/>
                  </a:cubicBezTo>
                  <a:cubicBezTo>
                    <a:pt x="378" y="120"/>
                    <a:pt x="360" y="138"/>
                    <a:pt x="360" y="160"/>
                  </a:cubicBezTo>
                  <a:cubicBezTo>
                    <a:pt x="360" y="182"/>
                    <a:pt x="378" y="200"/>
                    <a:pt x="400" y="200"/>
                  </a:cubicBezTo>
                  <a:close/>
                  <a:moveTo>
                    <a:pt x="480" y="1160"/>
                  </a:moveTo>
                  <a:cubicBezTo>
                    <a:pt x="436" y="1160"/>
                    <a:pt x="400" y="1196"/>
                    <a:pt x="400" y="1240"/>
                  </a:cubicBezTo>
                  <a:cubicBezTo>
                    <a:pt x="400" y="1284"/>
                    <a:pt x="436" y="1320"/>
                    <a:pt x="480" y="1320"/>
                  </a:cubicBezTo>
                  <a:cubicBezTo>
                    <a:pt x="524" y="1320"/>
                    <a:pt x="560" y="1284"/>
                    <a:pt x="560" y="1240"/>
                  </a:cubicBezTo>
                  <a:cubicBezTo>
                    <a:pt x="560" y="1196"/>
                    <a:pt x="524" y="1160"/>
                    <a:pt x="480" y="1160"/>
                  </a:cubicBezTo>
                  <a:close/>
                  <a:moveTo>
                    <a:pt x="800" y="240"/>
                  </a:moveTo>
                  <a:cubicBezTo>
                    <a:pt x="160" y="240"/>
                    <a:pt x="160" y="240"/>
                    <a:pt x="160" y="240"/>
                  </a:cubicBezTo>
                  <a:cubicBezTo>
                    <a:pt x="160" y="1120"/>
                    <a:pt x="160" y="1120"/>
                    <a:pt x="160" y="1120"/>
                  </a:cubicBezTo>
                  <a:cubicBezTo>
                    <a:pt x="800" y="1120"/>
                    <a:pt x="800" y="1120"/>
                    <a:pt x="800" y="1120"/>
                  </a:cubicBezTo>
                  <a:lnTo>
                    <a:pt x="80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3" name="Group 39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8276112" y="4553701"/>
            <a:ext cx="204784" cy="213224"/>
            <a:chOff x="612" y="-742"/>
            <a:chExt cx="4537" cy="4724"/>
          </a:xfrm>
          <a:solidFill>
            <a:schemeClr val="tx1"/>
          </a:solidFill>
        </p:grpSpPr>
        <p:sp>
          <p:nvSpPr>
            <p:cNvPr id="104" name="Freeform 40"/>
            <p:cNvSpPr>
              <a:spLocks/>
            </p:cNvSpPr>
            <p:nvPr/>
          </p:nvSpPr>
          <p:spPr bwMode="auto">
            <a:xfrm>
              <a:off x="612" y="-742"/>
              <a:ext cx="2487" cy="2697"/>
            </a:xfrm>
            <a:custGeom>
              <a:avLst/>
              <a:gdLst>
                <a:gd name="T0" fmla="*/ 188 w 1053"/>
                <a:gd name="T1" fmla="*/ 825 h 1142"/>
                <a:gd name="T2" fmla="*/ 0 w 1053"/>
                <a:gd name="T3" fmla="*/ 478 h 1142"/>
                <a:gd name="T4" fmla="*/ 600 w 1053"/>
                <a:gd name="T5" fmla="*/ 0 h 1142"/>
                <a:gd name="T6" fmla="*/ 1053 w 1053"/>
                <a:gd name="T7" fmla="*/ 165 h 1142"/>
                <a:gd name="T8" fmla="*/ 837 w 1053"/>
                <a:gd name="T9" fmla="*/ 249 h 1142"/>
                <a:gd name="T10" fmla="*/ 677 w 1053"/>
                <a:gd name="T11" fmla="*/ 503 h 1142"/>
                <a:gd name="T12" fmla="*/ 672 w 1053"/>
                <a:gd name="T13" fmla="*/ 579 h 1142"/>
                <a:gd name="T14" fmla="*/ 684 w 1053"/>
                <a:gd name="T15" fmla="*/ 767 h 1142"/>
                <a:gd name="T16" fmla="*/ 698 w 1053"/>
                <a:gd name="T17" fmla="*/ 924 h 1142"/>
                <a:gd name="T18" fmla="*/ 710 w 1053"/>
                <a:gd name="T19" fmla="*/ 950 h 1142"/>
                <a:gd name="T20" fmla="*/ 600 w 1053"/>
                <a:gd name="T21" fmla="*/ 959 h 1142"/>
                <a:gd name="T22" fmla="*/ 484 w 1053"/>
                <a:gd name="T23" fmla="*/ 989 h 1142"/>
                <a:gd name="T24" fmla="*/ 482 w 1053"/>
                <a:gd name="T25" fmla="*/ 1071 h 1142"/>
                <a:gd name="T26" fmla="*/ 499 w 1053"/>
                <a:gd name="T27" fmla="*/ 1142 h 1142"/>
                <a:gd name="T28" fmla="*/ 430 w 1053"/>
                <a:gd name="T29" fmla="*/ 1118 h 1142"/>
                <a:gd name="T30" fmla="*/ 188 w 1053"/>
                <a:gd name="T31" fmla="*/ 825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3" h="1142">
                  <a:moveTo>
                    <a:pt x="188" y="825"/>
                  </a:moveTo>
                  <a:cubicBezTo>
                    <a:pt x="76" y="742"/>
                    <a:pt x="0" y="620"/>
                    <a:pt x="0" y="478"/>
                  </a:cubicBezTo>
                  <a:cubicBezTo>
                    <a:pt x="0" y="171"/>
                    <a:pt x="326" y="0"/>
                    <a:pt x="600" y="0"/>
                  </a:cubicBezTo>
                  <a:cubicBezTo>
                    <a:pt x="763" y="0"/>
                    <a:pt x="931" y="54"/>
                    <a:pt x="1053" y="165"/>
                  </a:cubicBezTo>
                  <a:cubicBezTo>
                    <a:pt x="974" y="176"/>
                    <a:pt x="899" y="205"/>
                    <a:pt x="837" y="249"/>
                  </a:cubicBezTo>
                  <a:cubicBezTo>
                    <a:pt x="754" y="308"/>
                    <a:pt x="694" y="394"/>
                    <a:pt x="677" y="503"/>
                  </a:cubicBezTo>
                  <a:cubicBezTo>
                    <a:pt x="673" y="527"/>
                    <a:pt x="671" y="555"/>
                    <a:pt x="672" y="579"/>
                  </a:cubicBezTo>
                  <a:cubicBezTo>
                    <a:pt x="684" y="767"/>
                    <a:pt x="684" y="767"/>
                    <a:pt x="684" y="767"/>
                  </a:cubicBezTo>
                  <a:cubicBezTo>
                    <a:pt x="674" y="819"/>
                    <a:pt x="679" y="875"/>
                    <a:pt x="698" y="924"/>
                  </a:cubicBezTo>
                  <a:cubicBezTo>
                    <a:pt x="701" y="933"/>
                    <a:pt x="705" y="942"/>
                    <a:pt x="710" y="950"/>
                  </a:cubicBezTo>
                  <a:cubicBezTo>
                    <a:pt x="674" y="956"/>
                    <a:pt x="637" y="959"/>
                    <a:pt x="600" y="959"/>
                  </a:cubicBezTo>
                  <a:cubicBezTo>
                    <a:pt x="534" y="959"/>
                    <a:pt x="499" y="970"/>
                    <a:pt x="484" y="989"/>
                  </a:cubicBezTo>
                  <a:cubicBezTo>
                    <a:pt x="471" y="1006"/>
                    <a:pt x="473" y="1035"/>
                    <a:pt x="482" y="1071"/>
                  </a:cubicBezTo>
                  <a:cubicBezTo>
                    <a:pt x="499" y="1142"/>
                    <a:pt x="499" y="1142"/>
                    <a:pt x="499" y="1142"/>
                  </a:cubicBezTo>
                  <a:cubicBezTo>
                    <a:pt x="430" y="1118"/>
                    <a:pt x="430" y="1118"/>
                    <a:pt x="430" y="1118"/>
                  </a:cubicBezTo>
                  <a:cubicBezTo>
                    <a:pt x="304" y="1075"/>
                    <a:pt x="199" y="961"/>
                    <a:pt x="188" y="82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Freeform 41"/>
            <p:cNvSpPr>
              <a:spLocks/>
            </p:cNvSpPr>
            <p:nvPr/>
          </p:nvSpPr>
          <p:spPr bwMode="auto">
            <a:xfrm>
              <a:off x="1746" y="-178"/>
              <a:ext cx="3403" cy="4160"/>
            </a:xfrm>
            <a:custGeom>
              <a:avLst/>
              <a:gdLst>
                <a:gd name="T0" fmla="*/ 285 w 1441"/>
                <a:gd name="T1" fmla="*/ 534 h 1761"/>
                <a:gd name="T2" fmla="*/ 272 w 1441"/>
                <a:gd name="T3" fmla="*/ 336 h 1761"/>
                <a:gd name="T4" fmla="*/ 276 w 1441"/>
                <a:gd name="T5" fmla="*/ 277 h 1761"/>
                <a:gd name="T6" fmla="*/ 404 w 1441"/>
                <a:gd name="T7" fmla="*/ 75 h 1761"/>
                <a:gd name="T8" fmla="*/ 633 w 1441"/>
                <a:gd name="T9" fmla="*/ 2 h 1761"/>
                <a:gd name="T10" fmla="*/ 817 w 1441"/>
                <a:gd name="T11" fmla="*/ 47 h 1761"/>
                <a:gd name="T12" fmla="*/ 911 w 1441"/>
                <a:gd name="T13" fmla="*/ 35 h 1761"/>
                <a:gd name="T14" fmla="*/ 1144 w 1441"/>
                <a:gd name="T15" fmla="*/ 207 h 1761"/>
                <a:gd name="T16" fmla="*/ 1169 w 1441"/>
                <a:gd name="T17" fmla="*/ 333 h 1761"/>
                <a:gd name="T18" fmla="*/ 1156 w 1441"/>
                <a:gd name="T19" fmla="*/ 534 h 1761"/>
                <a:gd name="T20" fmla="*/ 1082 w 1441"/>
                <a:gd name="T21" fmla="*/ 740 h 1761"/>
                <a:gd name="T22" fmla="*/ 965 w 1441"/>
                <a:gd name="T23" fmla="*/ 967 h 1761"/>
                <a:gd name="T24" fmla="*/ 975 w 1441"/>
                <a:gd name="T25" fmla="*/ 1053 h 1761"/>
                <a:gd name="T26" fmla="*/ 1012 w 1441"/>
                <a:gd name="T27" fmla="*/ 1118 h 1761"/>
                <a:gd name="T28" fmla="*/ 1118 w 1441"/>
                <a:gd name="T29" fmla="*/ 1161 h 1761"/>
                <a:gd name="T30" fmla="*/ 1321 w 1441"/>
                <a:gd name="T31" fmla="*/ 1253 h 1761"/>
                <a:gd name="T32" fmla="*/ 1409 w 1441"/>
                <a:gd name="T33" fmla="*/ 1385 h 1761"/>
                <a:gd name="T34" fmla="*/ 1441 w 1441"/>
                <a:gd name="T35" fmla="*/ 1547 h 1761"/>
                <a:gd name="T36" fmla="*/ 1230 w 1441"/>
                <a:gd name="T37" fmla="*/ 1708 h 1761"/>
                <a:gd name="T38" fmla="*/ 720 w 1441"/>
                <a:gd name="T39" fmla="*/ 1761 h 1761"/>
                <a:gd name="T40" fmla="*/ 210 w 1441"/>
                <a:gd name="T41" fmla="*/ 1708 h 1761"/>
                <a:gd name="T42" fmla="*/ 0 w 1441"/>
                <a:gd name="T43" fmla="*/ 1547 h 1761"/>
                <a:gd name="T44" fmla="*/ 32 w 1441"/>
                <a:gd name="T45" fmla="*/ 1385 h 1761"/>
                <a:gd name="T46" fmla="*/ 120 w 1441"/>
                <a:gd name="T47" fmla="*/ 1253 h 1761"/>
                <a:gd name="T48" fmla="*/ 323 w 1441"/>
                <a:gd name="T49" fmla="*/ 1161 h 1761"/>
                <a:gd name="T50" fmla="*/ 428 w 1441"/>
                <a:gd name="T51" fmla="*/ 1118 h 1761"/>
                <a:gd name="T52" fmla="*/ 466 w 1441"/>
                <a:gd name="T53" fmla="*/ 1053 h 1761"/>
                <a:gd name="T54" fmla="*/ 476 w 1441"/>
                <a:gd name="T55" fmla="*/ 967 h 1761"/>
                <a:gd name="T56" fmla="*/ 359 w 1441"/>
                <a:gd name="T57" fmla="*/ 740 h 1761"/>
                <a:gd name="T58" fmla="*/ 285 w 1441"/>
                <a:gd name="T59" fmla="*/ 534 h 1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1" h="1761">
                  <a:moveTo>
                    <a:pt x="285" y="534"/>
                  </a:moveTo>
                  <a:cubicBezTo>
                    <a:pt x="272" y="336"/>
                    <a:pt x="272" y="336"/>
                    <a:pt x="272" y="336"/>
                  </a:cubicBezTo>
                  <a:cubicBezTo>
                    <a:pt x="271" y="318"/>
                    <a:pt x="273" y="295"/>
                    <a:pt x="276" y="277"/>
                  </a:cubicBezTo>
                  <a:cubicBezTo>
                    <a:pt x="290" y="190"/>
                    <a:pt x="338" y="122"/>
                    <a:pt x="404" y="75"/>
                  </a:cubicBezTo>
                  <a:cubicBezTo>
                    <a:pt x="468" y="29"/>
                    <a:pt x="550" y="3"/>
                    <a:pt x="633" y="2"/>
                  </a:cubicBezTo>
                  <a:cubicBezTo>
                    <a:pt x="702" y="0"/>
                    <a:pt x="759" y="11"/>
                    <a:pt x="817" y="47"/>
                  </a:cubicBezTo>
                  <a:cubicBezTo>
                    <a:pt x="848" y="36"/>
                    <a:pt x="880" y="32"/>
                    <a:pt x="911" y="35"/>
                  </a:cubicBezTo>
                  <a:cubicBezTo>
                    <a:pt x="1010" y="45"/>
                    <a:pt x="1101" y="118"/>
                    <a:pt x="1144" y="207"/>
                  </a:cubicBezTo>
                  <a:cubicBezTo>
                    <a:pt x="1163" y="247"/>
                    <a:pt x="1172" y="290"/>
                    <a:pt x="1169" y="333"/>
                  </a:cubicBezTo>
                  <a:cubicBezTo>
                    <a:pt x="1156" y="534"/>
                    <a:pt x="1156" y="534"/>
                    <a:pt x="1156" y="534"/>
                  </a:cubicBezTo>
                  <a:cubicBezTo>
                    <a:pt x="1175" y="610"/>
                    <a:pt x="1149" y="697"/>
                    <a:pt x="1082" y="740"/>
                  </a:cubicBezTo>
                  <a:cubicBezTo>
                    <a:pt x="1059" y="814"/>
                    <a:pt x="1016" y="909"/>
                    <a:pt x="965" y="967"/>
                  </a:cubicBezTo>
                  <a:cubicBezTo>
                    <a:pt x="966" y="994"/>
                    <a:pt x="968" y="1025"/>
                    <a:pt x="975" y="1053"/>
                  </a:cubicBezTo>
                  <a:cubicBezTo>
                    <a:pt x="981" y="1082"/>
                    <a:pt x="993" y="1106"/>
                    <a:pt x="1012" y="1118"/>
                  </a:cubicBezTo>
                  <a:cubicBezTo>
                    <a:pt x="1047" y="1139"/>
                    <a:pt x="1079" y="1150"/>
                    <a:pt x="1118" y="1161"/>
                  </a:cubicBezTo>
                  <a:cubicBezTo>
                    <a:pt x="1181" y="1180"/>
                    <a:pt x="1276" y="1211"/>
                    <a:pt x="1321" y="1253"/>
                  </a:cubicBezTo>
                  <a:cubicBezTo>
                    <a:pt x="1360" y="1290"/>
                    <a:pt x="1389" y="1336"/>
                    <a:pt x="1409" y="1385"/>
                  </a:cubicBezTo>
                  <a:cubicBezTo>
                    <a:pt x="1430" y="1438"/>
                    <a:pt x="1441" y="1494"/>
                    <a:pt x="1441" y="1547"/>
                  </a:cubicBezTo>
                  <a:cubicBezTo>
                    <a:pt x="1441" y="1626"/>
                    <a:pt x="1352" y="1677"/>
                    <a:pt x="1230" y="1708"/>
                  </a:cubicBezTo>
                  <a:cubicBezTo>
                    <a:pt x="1072" y="1748"/>
                    <a:pt x="851" y="1761"/>
                    <a:pt x="720" y="1761"/>
                  </a:cubicBezTo>
                  <a:cubicBezTo>
                    <a:pt x="590" y="1761"/>
                    <a:pt x="368" y="1748"/>
                    <a:pt x="210" y="1708"/>
                  </a:cubicBezTo>
                  <a:cubicBezTo>
                    <a:pt x="88" y="1677"/>
                    <a:pt x="0" y="1626"/>
                    <a:pt x="0" y="1547"/>
                  </a:cubicBezTo>
                  <a:cubicBezTo>
                    <a:pt x="0" y="1494"/>
                    <a:pt x="10" y="1438"/>
                    <a:pt x="32" y="1385"/>
                  </a:cubicBezTo>
                  <a:cubicBezTo>
                    <a:pt x="52" y="1336"/>
                    <a:pt x="81" y="1290"/>
                    <a:pt x="120" y="1253"/>
                  </a:cubicBezTo>
                  <a:cubicBezTo>
                    <a:pt x="164" y="1211"/>
                    <a:pt x="260" y="1180"/>
                    <a:pt x="323" y="1161"/>
                  </a:cubicBezTo>
                  <a:cubicBezTo>
                    <a:pt x="366" y="1149"/>
                    <a:pt x="389" y="1140"/>
                    <a:pt x="428" y="1118"/>
                  </a:cubicBezTo>
                  <a:cubicBezTo>
                    <a:pt x="447" y="1107"/>
                    <a:pt x="458" y="1082"/>
                    <a:pt x="466" y="1053"/>
                  </a:cubicBezTo>
                  <a:cubicBezTo>
                    <a:pt x="473" y="1025"/>
                    <a:pt x="475" y="993"/>
                    <a:pt x="476" y="967"/>
                  </a:cubicBezTo>
                  <a:cubicBezTo>
                    <a:pt x="424" y="909"/>
                    <a:pt x="382" y="814"/>
                    <a:pt x="359" y="740"/>
                  </a:cubicBezTo>
                  <a:cubicBezTo>
                    <a:pt x="292" y="697"/>
                    <a:pt x="266" y="610"/>
                    <a:pt x="285" y="53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3" name="TextBox 52"/>
          <p:cNvSpPr txBox="1"/>
          <p:nvPr/>
        </p:nvSpPr>
        <p:spPr bwMode="gray">
          <a:xfrm>
            <a:off x="9134705" y="6398219"/>
            <a:ext cx="14536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gnificant verschillend van de totale steekproef</a:t>
            </a:r>
          </a:p>
        </p:txBody>
      </p:sp>
      <p:sp>
        <p:nvSpPr>
          <p:cNvPr id="54" name="Freeform 53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7701616" y="5480134"/>
            <a:ext cx="322305" cy="224413"/>
          </a:xfrm>
          <a:custGeom>
            <a:avLst/>
            <a:gdLst>
              <a:gd name="T0" fmla="*/ 1034 w 2068"/>
              <a:gd name="T1" fmla="*/ 0 h 1440"/>
              <a:gd name="T2" fmla="*/ 2065 w 2068"/>
              <a:gd name="T3" fmla="*/ 706 h 1440"/>
              <a:gd name="T4" fmla="*/ 2065 w 2068"/>
              <a:gd name="T5" fmla="*/ 734 h 1440"/>
              <a:gd name="T6" fmla="*/ 1034 w 2068"/>
              <a:gd name="T7" fmla="*/ 1440 h 1440"/>
              <a:gd name="T8" fmla="*/ 3 w 2068"/>
              <a:gd name="T9" fmla="*/ 734 h 1440"/>
              <a:gd name="T10" fmla="*/ 3 w 2068"/>
              <a:gd name="T11" fmla="*/ 706 h 1440"/>
              <a:gd name="T12" fmla="*/ 1034 w 2068"/>
              <a:gd name="T13" fmla="*/ 0 h 1440"/>
              <a:gd name="T14" fmla="*/ 1034 w 2068"/>
              <a:gd name="T15" fmla="*/ 160 h 1440"/>
              <a:gd name="T16" fmla="*/ 474 w 2068"/>
              <a:gd name="T17" fmla="*/ 720 h 1440"/>
              <a:gd name="T18" fmla="*/ 1034 w 2068"/>
              <a:gd name="T19" fmla="*/ 1280 h 1440"/>
              <a:gd name="T20" fmla="*/ 1594 w 2068"/>
              <a:gd name="T21" fmla="*/ 720 h 1440"/>
              <a:gd name="T22" fmla="*/ 1034 w 2068"/>
              <a:gd name="T23" fmla="*/ 160 h 1440"/>
              <a:gd name="T24" fmla="*/ 1322 w 2068"/>
              <a:gd name="T25" fmla="*/ 336 h 1440"/>
              <a:gd name="T26" fmla="*/ 686 w 2068"/>
              <a:gd name="T27" fmla="*/ 1051 h 1440"/>
              <a:gd name="T28" fmla="*/ 554 w 2068"/>
              <a:gd name="T29" fmla="*/ 720 h 1440"/>
              <a:gd name="T30" fmla="*/ 1034 w 2068"/>
              <a:gd name="T31" fmla="*/ 240 h 1440"/>
              <a:gd name="T32" fmla="*/ 1322 w 2068"/>
              <a:gd name="T33" fmla="*/ 336 h 1440"/>
              <a:gd name="T34" fmla="*/ 1514 w 2068"/>
              <a:gd name="T35" fmla="*/ 720 h 1440"/>
              <a:gd name="T36" fmla="*/ 1382 w 2068"/>
              <a:gd name="T37" fmla="*/ 389 h 1440"/>
              <a:gd name="T38" fmla="*/ 746 w 2068"/>
              <a:gd name="T39" fmla="*/ 1104 h 1440"/>
              <a:gd name="T40" fmla="*/ 1034 w 2068"/>
              <a:gd name="T41" fmla="*/ 1200 h 1440"/>
              <a:gd name="T42" fmla="*/ 1514 w 2068"/>
              <a:gd name="T43" fmla="*/ 7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68" h="1440">
                <a:moveTo>
                  <a:pt x="1034" y="0"/>
                </a:moveTo>
                <a:cubicBezTo>
                  <a:pt x="1464" y="0"/>
                  <a:pt x="1910" y="303"/>
                  <a:pt x="2065" y="706"/>
                </a:cubicBezTo>
                <a:cubicBezTo>
                  <a:pt x="2068" y="715"/>
                  <a:pt x="2068" y="725"/>
                  <a:pt x="2065" y="734"/>
                </a:cubicBezTo>
                <a:cubicBezTo>
                  <a:pt x="1910" y="1137"/>
                  <a:pt x="1465" y="1440"/>
                  <a:pt x="1034" y="1440"/>
                </a:cubicBezTo>
                <a:cubicBezTo>
                  <a:pt x="603" y="1440"/>
                  <a:pt x="158" y="1137"/>
                  <a:pt x="3" y="734"/>
                </a:cubicBezTo>
                <a:cubicBezTo>
                  <a:pt x="0" y="725"/>
                  <a:pt x="0" y="715"/>
                  <a:pt x="3" y="706"/>
                </a:cubicBezTo>
                <a:cubicBezTo>
                  <a:pt x="158" y="303"/>
                  <a:pt x="604" y="0"/>
                  <a:pt x="1034" y="0"/>
                </a:cubicBezTo>
                <a:close/>
                <a:moveTo>
                  <a:pt x="1034" y="160"/>
                </a:moveTo>
                <a:cubicBezTo>
                  <a:pt x="725" y="160"/>
                  <a:pt x="474" y="411"/>
                  <a:pt x="474" y="720"/>
                </a:cubicBezTo>
                <a:cubicBezTo>
                  <a:pt x="474" y="1029"/>
                  <a:pt x="725" y="1280"/>
                  <a:pt x="1034" y="1280"/>
                </a:cubicBezTo>
                <a:cubicBezTo>
                  <a:pt x="1343" y="1280"/>
                  <a:pt x="1594" y="1029"/>
                  <a:pt x="1594" y="720"/>
                </a:cubicBezTo>
                <a:cubicBezTo>
                  <a:pt x="1594" y="411"/>
                  <a:pt x="1343" y="160"/>
                  <a:pt x="1034" y="160"/>
                </a:cubicBezTo>
                <a:close/>
                <a:moveTo>
                  <a:pt x="1322" y="336"/>
                </a:moveTo>
                <a:cubicBezTo>
                  <a:pt x="686" y="1051"/>
                  <a:pt x="686" y="1051"/>
                  <a:pt x="686" y="1051"/>
                </a:cubicBezTo>
                <a:cubicBezTo>
                  <a:pt x="604" y="965"/>
                  <a:pt x="554" y="848"/>
                  <a:pt x="554" y="720"/>
                </a:cubicBezTo>
                <a:cubicBezTo>
                  <a:pt x="554" y="455"/>
                  <a:pt x="769" y="240"/>
                  <a:pt x="1034" y="240"/>
                </a:cubicBezTo>
                <a:cubicBezTo>
                  <a:pt x="1142" y="240"/>
                  <a:pt x="1242" y="276"/>
                  <a:pt x="1322" y="336"/>
                </a:cubicBezTo>
                <a:close/>
                <a:moveTo>
                  <a:pt x="1514" y="720"/>
                </a:moveTo>
                <a:cubicBezTo>
                  <a:pt x="1514" y="592"/>
                  <a:pt x="1464" y="475"/>
                  <a:pt x="1382" y="389"/>
                </a:cubicBezTo>
                <a:cubicBezTo>
                  <a:pt x="746" y="1104"/>
                  <a:pt x="746" y="1104"/>
                  <a:pt x="746" y="1104"/>
                </a:cubicBezTo>
                <a:cubicBezTo>
                  <a:pt x="826" y="1164"/>
                  <a:pt x="926" y="1200"/>
                  <a:pt x="1034" y="1200"/>
                </a:cubicBezTo>
                <a:cubicBezTo>
                  <a:pt x="1299" y="1200"/>
                  <a:pt x="1514" y="985"/>
                  <a:pt x="1514" y="7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hevron 54"/>
          <p:cNvSpPr/>
          <p:nvPr/>
        </p:nvSpPr>
        <p:spPr bwMode="gray">
          <a:xfrm>
            <a:off x="6243130" y="3885990"/>
            <a:ext cx="1232050" cy="459548"/>
          </a:xfrm>
          <a:prstGeom prst="chevron">
            <a:avLst/>
          </a:prstGeom>
          <a:solidFill>
            <a:srgbClr val="F0A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6" name="Chevron 55"/>
          <p:cNvSpPr/>
          <p:nvPr/>
        </p:nvSpPr>
        <p:spPr bwMode="gray">
          <a:xfrm>
            <a:off x="6290731" y="2361802"/>
            <a:ext cx="1232050" cy="459548"/>
          </a:xfrm>
          <a:prstGeom prst="chevron">
            <a:avLst/>
          </a:prstGeom>
          <a:solidFill>
            <a:srgbClr val="F0A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7" name="Chevron 56"/>
          <p:cNvSpPr/>
          <p:nvPr/>
        </p:nvSpPr>
        <p:spPr bwMode="gray">
          <a:xfrm>
            <a:off x="6252845" y="5422148"/>
            <a:ext cx="1232050" cy="459548"/>
          </a:xfrm>
          <a:prstGeom prst="chevron">
            <a:avLst/>
          </a:prstGeom>
          <a:solidFill>
            <a:srgbClr val="F0AB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 bwMode="gray">
          <a:xfrm>
            <a:off x="7988247" y="3645024"/>
            <a:ext cx="2788941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lijk gedrag dat in de afgelopen </a:t>
            </a:r>
            <a:b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 het vaakst voorkwam</a:t>
            </a:r>
          </a:p>
        </p:txBody>
      </p:sp>
    </p:spTree>
    <p:extLst>
      <p:ext uri="{BB962C8B-B14F-4D97-AF65-F5344CB8AC3E}">
        <p14:creationId xmlns:p14="http://schemas.microsoft.com/office/powerpoint/2010/main" val="1435315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411" y="180723"/>
            <a:ext cx="2054700" cy="2739600"/>
          </a:xfrm>
          <a:prstGeom prst="rect">
            <a:avLst/>
          </a:prstGeom>
        </p:spPr>
      </p:pic>
      <p:sp>
        <p:nvSpPr>
          <p:cNvPr id="62" name="Rounded Rectangle 61"/>
          <p:cNvSpPr/>
          <p:nvPr/>
        </p:nvSpPr>
        <p:spPr bwMode="gray">
          <a:xfrm>
            <a:off x="6966340" y="1671712"/>
            <a:ext cx="4589217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3" name="Rounded Rectangle 62"/>
          <p:cNvSpPr/>
          <p:nvPr/>
        </p:nvSpPr>
        <p:spPr bwMode="gray">
          <a:xfrm>
            <a:off x="919532" y="1671711"/>
            <a:ext cx="5923396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 bwMode="gray">
          <a:xfrm>
            <a:off x="0" y="937176"/>
            <a:ext cx="1339564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2642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Geef grotere gevolgen aan gedrag</a:t>
            </a:r>
          </a:p>
        </p:txBody>
      </p:sp>
      <p:sp>
        <p:nvSpPr>
          <p:cNvPr id="38" name="TextBox 37"/>
          <p:cNvSpPr txBox="1"/>
          <p:nvPr/>
        </p:nvSpPr>
        <p:spPr bwMode="gray">
          <a:xfrm>
            <a:off x="1280535" y="5498648"/>
            <a:ext cx="497231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m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ijd te winnen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n omdat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nderen het ook do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 omdat het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n goed uitkomt om gevaarlijk gedrag te stellen</a:t>
            </a:r>
          </a:p>
        </p:txBody>
      </p:sp>
      <p:sp>
        <p:nvSpPr>
          <p:cNvPr id="12" name="Oval 11"/>
          <p:cNvSpPr/>
          <p:nvPr/>
        </p:nvSpPr>
        <p:spPr bwMode="gray">
          <a:xfrm>
            <a:off x="1895529" y="281583"/>
            <a:ext cx="1920000" cy="192000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540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nl-BE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Opportunistic</a:t>
            </a: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crossers</a:t>
            </a:r>
            <a: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35%</a:t>
            </a:r>
            <a: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endParaRPr lang="nl-BE" sz="2400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43" name="Parallelogram 42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  <a:defRPr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44" name="Freeform 202"/>
            <p:cNvSpPr>
              <a:spLocks noChangeAspect="1"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299529" y="187321"/>
              <a:ext cx="376636" cy="359716"/>
            </a:xfrm>
            <a:custGeom>
              <a:avLst/>
              <a:gdLst>
                <a:gd name="T0" fmla="*/ 199 w 1960"/>
                <a:gd name="T1" fmla="*/ 819 h 1872"/>
                <a:gd name="T2" fmla="*/ 1807 w 1960"/>
                <a:gd name="T3" fmla="*/ 10 h 1872"/>
                <a:gd name="T4" fmla="*/ 1860 w 1960"/>
                <a:gd name="T5" fmla="*/ 28 h 1872"/>
                <a:gd name="T6" fmla="*/ 1950 w 1960"/>
                <a:gd name="T7" fmla="*/ 206 h 1872"/>
                <a:gd name="T8" fmla="*/ 1933 w 1960"/>
                <a:gd name="T9" fmla="*/ 260 h 1872"/>
                <a:gd name="T10" fmla="*/ 325 w 1960"/>
                <a:gd name="T11" fmla="*/ 1069 h 1872"/>
                <a:gd name="T12" fmla="*/ 271 w 1960"/>
                <a:gd name="T13" fmla="*/ 1051 h 1872"/>
                <a:gd name="T14" fmla="*/ 181 w 1960"/>
                <a:gd name="T15" fmla="*/ 872 h 1872"/>
                <a:gd name="T16" fmla="*/ 199 w 1960"/>
                <a:gd name="T17" fmla="*/ 819 h 1872"/>
                <a:gd name="T18" fmla="*/ 1736 w 1960"/>
                <a:gd name="T19" fmla="*/ 135 h 1872"/>
                <a:gd name="T20" fmla="*/ 1682 w 1960"/>
                <a:gd name="T21" fmla="*/ 296 h 1872"/>
                <a:gd name="T22" fmla="*/ 1861 w 1960"/>
                <a:gd name="T23" fmla="*/ 206 h 1872"/>
                <a:gd name="T24" fmla="*/ 1807 w 1960"/>
                <a:gd name="T25" fmla="*/ 99 h 1872"/>
                <a:gd name="T26" fmla="*/ 1736 w 1960"/>
                <a:gd name="T27" fmla="*/ 135 h 1872"/>
                <a:gd name="T28" fmla="*/ 1092 w 1960"/>
                <a:gd name="T29" fmla="*/ 459 h 1872"/>
                <a:gd name="T30" fmla="*/ 1039 w 1960"/>
                <a:gd name="T31" fmla="*/ 620 h 1872"/>
                <a:gd name="T32" fmla="*/ 1361 w 1960"/>
                <a:gd name="T33" fmla="*/ 458 h 1872"/>
                <a:gd name="T34" fmla="*/ 1414 w 1960"/>
                <a:gd name="T35" fmla="*/ 297 h 1872"/>
                <a:gd name="T36" fmla="*/ 1092 w 1960"/>
                <a:gd name="T37" fmla="*/ 459 h 1872"/>
                <a:gd name="T38" fmla="*/ 449 w 1960"/>
                <a:gd name="T39" fmla="*/ 782 h 1872"/>
                <a:gd name="T40" fmla="*/ 396 w 1960"/>
                <a:gd name="T41" fmla="*/ 943 h 1872"/>
                <a:gd name="T42" fmla="*/ 718 w 1960"/>
                <a:gd name="T43" fmla="*/ 782 h 1872"/>
                <a:gd name="T44" fmla="*/ 771 w 1960"/>
                <a:gd name="T45" fmla="*/ 620 h 1872"/>
                <a:gd name="T46" fmla="*/ 449 w 1960"/>
                <a:gd name="T47" fmla="*/ 782 h 1872"/>
                <a:gd name="T48" fmla="*/ 640 w 1960"/>
                <a:gd name="T49" fmla="*/ 1000 h 1872"/>
                <a:gd name="T50" fmla="*/ 640 w 1960"/>
                <a:gd name="T51" fmla="*/ 1792 h 1872"/>
                <a:gd name="T52" fmla="*/ 720 w 1960"/>
                <a:gd name="T53" fmla="*/ 1792 h 1872"/>
                <a:gd name="T54" fmla="*/ 720 w 1960"/>
                <a:gd name="T55" fmla="*/ 1872 h 1872"/>
                <a:gd name="T56" fmla="*/ 0 w 1960"/>
                <a:gd name="T57" fmla="*/ 1872 h 1872"/>
                <a:gd name="T58" fmla="*/ 0 w 1960"/>
                <a:gd name="T59" fmla="*/ 1792 h 1872"/>
                <a:gd name="T60" fmla="*/ 80 w 1960"/>
                <a:gd name="T61" fmla="*/ 1792 h 1872"/>
                <a:gd name="T62" fmla="*/ 80 w 1960"/>
                <a:gd name="T63" fmla="*/ 672 h 1872"/>
                <a:gd name="T64" fmla="*/ 280 w 1960"/>
                <a:gd name="T65" fmla="*/ 472 h 1872"/>
                <a:gd name="T66" fmla="*/ 440 w 1960"/>
                <a:gd name="T67" fmla="*/ 472 h 1872"/>
                <a:gd name="T68" fmla="*/ 581 w 1960"/>
                <a:gd name="T69" fmla="*/ 531 h 1872"/>
                <a:gd name="T70" fmla="*/ 586 w 1960"/>
                <a:gd name="T71" fmla="*/ 535 h 1872"/>
                <a:gd name="T72" fmla="*/ 163 w 1960"/>
                <a:gd name="T73" fmla="*/ 747 h 1872"/>
                <a:gd name="T74" fmla="*/ 110 w 1960"/>
                <a:gd name="T75" fmla="*/ 908 h 1872"/>
                <a:gd name="T76" fmla="*/ 200 w 1960"/>
                <a:gd name="T77" fmla="*/ 1087 h 1872"/>
                <a:gd name="T78" fmla="*/ 361 w 1960"/>
                <a:gd name="T79" fmla="*/ 1140 h 1872"/>
                <a:gd name="T80" fmla="*/ 640 w 1960"/>
                <a:gd name="T81" fmla="*/ 1000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60" h="1872">
                  <a:moveTo>
                    <a:pt x="199" y="819"/>
                  </a:moveTo>
                  <a:cubicBezTo>
                    <a:pt x="735" y="549"/>
                    <a:pt x="1271" y="280"/>
                    <a:pt x="1807" y="10"/>
                  </a:cubicBezTo>
                  <a:cubicBezTo>
                    <a:pt x="1827" y="0"/>
                    <a:pt x="1851" y="8"/>
                    <a:pt x="1860" y="28"/>
                  </a:cubicBezTo>
                  <a:cubicBezTo>
                    <a:pt x="1950" y="206"/>
                    <a:pt x="1950" y="206"/>
                    <a:pt x="1950" y="206"/>
                  </a:cubicBezTo>
                  <a:cubicBezTo>
                    <a:pt x="1960" y="226"/>
                    <a:pt x="1952" y="250"/>
                    <a:pt x="1933" y="260"/>
                  </a:cubicBezTo>
                  <a:cubicBezTo>
                    <a:pt x="1397" y="530"/>
                    <a:pt x="861" y="799"/>
                    <a:pt x="325" y="1069"/>
                  </a:cubicBezTo>
                  <a:cubicBezTo>
                    <a:pt x="305" y="1079"/>
                    <a:pt x="281" y="1071"/>
                    <a:pt x="271" y="1051"/>
                  </a:cubicBezTo>
                  <a:cubicBezTo>
                    <a:pt x="181" y="872"/>
                    <a:pt x="181" y="872"/>
                    <a:pt x="181" y="872"/>
                  </a:cubicBezTo>
                  <a:cubicBezTo>
                    <a:pt x="171" y="853"/>
                    <a:pt x="179" y="829"/>
                    <a:pt x="199" y="819"/>
                  </a:cubicBezTo>
                  <a:close/>
                  <a:moveTo>
                    <a:pt x="1736" y="135"/>
                  </a:moveTo>
                  <a:cubicBezTo>
                    <a:pt x="1682" y="296"/>
                    <a:pt x="1682" y="296"/>
                    <a:pt x="1682" y="296"/>
                  </a:cubicBezTo>
                  <a:cubicBezTo>
                    <a:pt x="1861" y="206"/>
                    <a:pt x="1861" y="206"/>
                    <a:pt x="1861" y="206"/>
                  </a:cubicBezTo>
                  <a:cubicBezTo>
                    <a:pt x="1807" y="99"/>
                    <a:pt x="1807" y="99"/>
                    <a:pt x="1807" y="99"/>
                  </a:cubicBezTo>
                  <a:lnTo>
                    <a:pt x="1736" y="135"/>
                  </a:lnTo>
                  <a:close/>
                  <a:moveTo>
                    <a:pt x="1092" y="459"/>
                  </a:moveTo>
                  <a:cubicBezTo>
                    <a:pt x="1039" y="620"/>
                    <a:pt x="1039" y="620"/>
                    <a:pt x="1039" y="620"/>
                  </a:cubicBezTo>
                  <a:cubicBezTo>
                    <a:pt x="1361" y="458"/>
                    <a:pt x="1361" y="458"/>
                    <a:pt x="1361" y="458"/>
                  </a:cubicBezTo>
                  <a:cubicBezTo>
                    <a:pt x="1414" y="297"/>
                    <a:pt x="1414" y="297"/>
                    <a:pt x="1414" y="297"/>
                  </a:cubicBezTo>
                  <a:lnTo>
                    <a:pt x="1092" y="459"/>
                  </a:lnTo>
                  <a:close/>
                  <a:moveTo>
                    <a:pt x="449" y="782"/>
                  </a:moveTo>
                  <a:cubicBezTo>
                    <a:pt x="396" y="943"/>
                    <a:pt x="396" y="943"/>
                    <a:pt x="396" y="943"/>
                  </a:cubicBezTo>
                  <a:cubicBezTo>
                    <a:pt x="718" y="782"/>
                    <a:pt x="718" y="782"/>
                    <a:pt x="718" y="782"/>
                  </a:cubicBezTo>
                  <a:cubicBezTo>
                    <a:pt x="771" y="620"/>
                    <a:pt x="771" y="620"/>
                    <a:pt x="771" y="620"/>
                  </a:cubicBezTo>
                  <a:lnTo>
                    <a:pt x="449" y="782"/>
                  </a:lnTo>
                  <a:close/>
                  <a:moveTo>
                    <a:pt x="640" y="1000"/>
                  </a:moveTo>
                  <a:cubicBezTo>
                    <a:pt x="640" y="1792"/>
                    <a:pt x="640" y="1792"/>
                    <a:pt x="640" y="1792"/>
                  </a:cubicBezTo>
                  <a:cubicBezTo>
                    <a:pt x="720" y="1792"/>
                    <a:pt x="720" y="1792"/>
                    <a:pt x="720" y="1792"/>
                  </a:cubicBezTo>
                  <a:cubicBezTo>
                    <a:pt x="720" y="1872"/>
                    <a:pt x="720" y="1872"/>
                    <a:pt x="720" y="1872"/>
                  </a:cubicBezTo>
                  <a:cubicBezTo>
                    <a:pt x="480" y="1872"/>
                    <a:pt x="240" y="1872"/>
                    <a:pt x="0" y="1872"/>
                  </a:cubicBezTo>
                  <a:cubicBezTo>
                    <a:pt x="0" y="1792"/>
                    <a:pt x="0" y="1792"/>
                    <a:pt x="0" y="1792"/>
                  </a:cubicBezTo>
                  <a:cubicBezTo>
                    <a:pt x="80" y="1792"/>
                    <a:pt x="80" y="1792"/>
                    <a:pt x="80" y="1792"/>
                  </a:cubicBezTo>
                  <a:cubicBezTo>
                    <a:pt x="80" y="672"/>
                    <a:pt x="80" y="672"/>
                    <a:pt x="80" y="672"/>
                  </a:cubicBezTo>
                  <a:cubicBezTo>
                    <a:pt x="80" y="562"/>
                    <a:pt x="170" y="472"/>
                    <a:pt x="280" y="472"/>
                  </a:cubicBezTo>
                  <a:cubicBezTo>
                    <a:pt x="440" y="472"/>
                    <a:pt x="440" y="472"/>
                    <a:pt x="440" y="472"/>
                  </a:cubicBezTo>
                  <a:cubicBezTo>
                    <a:pt x="495" y="472"/>
                    <a:pt x="545" y="494"/>
                    <a:pt x="581" y="531"/>
                  </a:cubicBezTo>
                  <a:cubicBezTo>
                    <a:pt x="583" y="532"/>
                    <a:pt x="584" y="534"/>
                    <a:pt x="586" y="535"/>
                  </a:cubicBezTo>
                  <a:cubicBezTo>
                    <a:pt x="163" y="747"/>
                    <a:pt x="163" y="747"/>
                    <a:pt x="163" y="747"/>
                  </a:cubicBezTo>
                  <a:cubicBezTo>
                    <a:pt x="104" y="777"/>
                    <a:pt x="80" y="849"/>
                    <a:pt x="110" y="908"/>
                  </a:cubicBezTo>
                  <a:cubicBezTo>
                    <a:pt x="200" y="1087"/>
                    <a:pt x="200" y="1087"/>
                    <a:pt x="200" y="1087"/>
                  </a:cubicBezTo>
                  <a:cubicBezTo>
                    <a:pt x="229" y="1146"/>
                    <a:pt x="302" y="1170"/>
                    <a:pt x="361" y="1140"/>
                  </a:cubicBezTo>
                  <a:lnTo>
                    <a:pt x="640" y="10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5" name="Rectangle 44"/>
          <p:cNvSpPr/>
          <p:nvPr/>
        </p:nvSpPr>
        <p:spPr bwMode="gray">
          <a:xfrm>
            <a:off x="10871336" y="6533769"/>
            <a:ext cx="255182" cy="1914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 bwMode="gray">
          <a:xfrm>
            <a:off x="10588347" y="6535109"/>
            <a:ext cx="255182" cy="191449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/>
        </p:nvSpPr>
        <p:spPr bwMode="gray">
          <a:xfrm>
            <a:off x="1280535" y="2396886"/>
            <a:ext cx="460873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dirty="0">
                <a:latin typeface="Calibri" panose="020F0502020204030204" pitchFamily="34" charset="0"/>
                <a:cs typeface="Calibri" panose="020F0502020204030204" pitchFamily="34" charset="0"/>
              </a:rPr>
              <a:t>Mannen en vrouwen die minder vaak in </a:t>
            </a:r>
            <a:r>
              <a:rPr lang="nl-BE" b="1" dirty="0">
                <a:latin typeface="Calibri" panose="020F0502020204030204" pitchFamily="34" charset="0"/>
                <a:cs typeface="Calibri" panose="020F0502020204030204" pitchFamily="34" charset="0"/>
              </a:rPr>
              <a:t>Vlaanderen</a:t>
            </a:r>
            <a:r>
              <a:rPr lang="nl-BE" dirty="0">
                <a:latin typeface="Calibri" panose="020F0502020204030204" pitchFamily="34" charset="0"/>
                <a:cs typeface="Calibri" panose="020F0502020204030204" pitchFamily="34" charset="0"/>
              </a:rPr>
              <a:t> wonen en meer uit de </a:t>
            </a:r>
            <a:r>
              <a:rPr lang="nl-BE" b="1" dirty="0">
                <a:latin typeface="Calibri" panose="020F0502020204030204" pitchFamily="34" charset="0"/>
                <a:cs typeface="Calibri" panose="020F0502020204030204" pitchFamily="34" charset="0"/>
              </a:rPr>
              <a:t>middelste leeftijdscategorieën, </a:t>
            </a:r>
            <a:r>
              <a:rPr lang="nl-BE" dirty="0">
                <a:latin typeface="Calibri" panose="020F0502020204030204" pitchFamily="34" charset="0"/>
                <a:cs typeface="Calibri" panose="020F0502020204030204" pitchFamily="34" charset="0"/>
              </a:rPr>
              <a:t>nemen vaak de </a:t>
            </a:r>
            <a:r>
              <a:rPr lang="nl-BE" dirty="0" smtClean="0">
                <a:latin typeface="Calibri" panose="020F0502020204030204" pitchFamily="34" charset="0"/>
                <a:cs typeface="Calibri" panose="020F0502020204030204" pitchFamily="34" charset="0"/>
              </a:rPr>
              <a:t>trein</a:t>
            </a:r>
            <a:endParaRPr lang="nl-BE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 bwMode="gray">
          <a:xfrm>
            <a:off x="1280535" y="2055882"/>
            <a:ext cx="8280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E?</a:t>
            </a:r>
          </a:p>
        </p:txBody>
      </p:sp>
      <p:sp>
        <p:nvSpPr>
          <p:cNvPr id="69" name="TextBox 68"/>
          <p:cNvSpPr txBox="1"/>
          <p:nvPr/>
        </p:nvSpPr>
        <p:spPr bwMode="gray">
          <a:xfrm>
            <a:off x="1280535" y="3724895"/>
            <a:ext cx="23515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T DOEN ZE?</a:t>
            </a:r>
          </a:p>
        </p:txBody>
      </p:sp>
      <p:sp>
        <p:nvSpPr>
          <p:cNvPr id="70" name="TextBox 69"/>
          <p:cNvSpPr txBox="1"/>
          <p:nvPr/>
        </p:nvSpPr>
        <p:spPr bwMode="gray">
          <a:xfrm>
            <a:off x="1280535" y="5148564"/>
            <a:ext cx="46087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AROM LOPEN ZE OVER DE SPOREN?</a:t>
            </a:r>
          </a:p>
        </p:txBody>
      </p:sp>
      <p:sp>
        <p:nvSpPr>
          <p:cNvPr id="71" name="TextBox 70"/>
          <p:cNvSpPr txBox="1"/>
          <p:nvPr/>
        </p:nvSpPr>
        <p:spPr bwMode="gray">
          <a:xfrm>
            <a:off x="1280535" y="4088685"/>
            <a:ext cx="399493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5%</a:t>
            </a:r>
            <a:r>
              <a:rPr lang="nl-BE" sz="16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eft minstens één keer onvoorzichtig gedrag gesteld in de buurt van een overweg</a:t>
            </a:r>
          </a:p>
        </p:txBody>
      </p:sp>
      <p:sp>
        <p:nvSpPr>
          <p:cNvPr id="72" name="Freeform 3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653754" y="1996183"/>
            <a:ext cx="354052" cy="258657"/>
          </a:xfrm>
          <a:custGeom>
            <a:avLst/>
            <a:gdLst>
              <a:gd name="T0" fmla="*/ 160 w 2080"/>
              <a:gd name="T1" fmla="*/ 0 h 1520"/>
              <a:gd name="T2" fmla="*/ 1920 w 2080"/>
              <a:gd name="T3" fmla="*/ 0 h 1520"/>
              <a:gd name="T4" fmla="*/ 2080 w 2080"/>
              <a:gd name="T5" fmla="*/ 160 h 1520"/>
              <a:gd name="T6" fmla="*/ 2080 w 2080"/>
              <a:gd name="T7" fmla="*/ 1360 h 1520"/>
              <a:gd name="T8" fmla="*/ 1920 w 2080"/>
              <a:gd name="T9" fmla="*/ 1520 h 1520"/>
              <a:gd name="T10" fmla="*/ 160 w 2080"/>
              <a:gd name="T11" fmla="*/ 1520 h 1520"/>
              <a:gd name="T12" fmla="*/ 0 w 2080"/>
              <a:gd name="T13" fmla="*/ 1360 h 1520"/>
              <a:gd name="T14" fmla="*/ 0 w 2080"/>
              <a:gd name="T15" fmla="*/ 160 h 1520"/>
              <a:gd name="T16" fmla="*/ 160 w 2080"/>
              <a:gd name="T17" fmla="*/ 0 h 1520"/>
              <a:gd name="T18" fmla="*/ 1120 w 2080"/>
              <a:gd name="T19" fmla="*/ 320 h 1520"/>
              <a:gd name="T20" fmla="*/ 1120 w 2080"/>
              <a:gd name="T21" fmla="*/ 1360 h 1520"/>
              <a:gd name="T22" fmla="*/ 1920 w 2080"/>
              <a:gd name="T23" fmla="*/ 1360 h 1520"/>
              <a:gd name="T24" fmla="*/ 1920 w 2080"/>
              <a:gd name="T25" fmla="*/ 320 h 1520"/>
              <a:gd name="T26" fmla="*/ 1120 w 2080"/>
              <a:gd name="T27" fmla="*/ 320 h 1520"/>
              <a:gd name="T28" fmla="*/ 1840 w 2080"/>
              <a:gd name="T29" fmla="*/ 400 h 1520"/>
              <a:gd name="T30" fmla="*/ 1840 w 2080"/>
              <a:gd name="T31" fmla="*/ 1200 h 1520"/>
              <a:gd name="T32" fmla="*/ 1816 w 2080"/>
              <a:gd name="T33" fmla="*/ 1170 h 1520"/>
              <a:gd name="T34" fmla="*/ 1750 w 2080"/>
              <a:gd name="T35" fmla="*/ 1136 h 1520"/>
              <a:gd name="T36" fmla="*/ 1660 w 2080"/>
              <a:gd name="T37" fmla="*/ 1102 h 1520"/>
              <a:gd name="T38" fmla="*/ 1625 w 2080"/>
              <a:gd name="T39" fmla="*/ 996 h 1520"/>
              <a:gd name="T40" fmla="*/ 1689 w 2080"/>
              <a:gd name="T41" fmla="*/ 871 h 1520"/>
              <a:gd name="T42" fmla="*/ 1724 w 2080"/>
              <a:gd name="T43" fmla="*/ 779 h 1520"/>
              <a:gd name="T44" fmla="*/ 1731 w 2080"/>
              <a:gd name="T45" fmla="*/ 671 h 1520"/>
              <a:gd name="T46" fmla="*/ 1568 w 2080"/>
              <a:gd name="T47" fmla="*/ 545 h 1520"/>
              <a:gd name="T48" fmla="*/ 1511 w 2080"/>
              <a:gd name="T49" fmla="*/ 521 h 1520"/>
              <a:gd name="T50" fmla="*/ 1309 w 2080"/>
              <a:gd name="T51" fmla="*/ 672 h 1520"/>
              <a:gd name="T52" fmla="*/ 1316 w 2080"/>
              <a:gd name="T53" fmla="*/ 779 h 1520"/>
              <a:gd name="T54" fmla="*/ 1351 w 2080"/>
              <a:gd name="T55" fmla="*/ 871 h 1520"/>
              <a:gd name="T56" fmla="*/ 1415 w 2080"/>
              <a:gd name="T57" fmla="*/ 996 h 1520"/>
              <a:gd name="T58" fmla="*/ 1380 w 2080"/>
              <a:gd name="T59" fmla="*/ 1102 h 1520"/>
              <a:gd name="T60" fmla="*/ 1290 w 2080"/>
              <a:gd name="T61" fmla="*/ 1136 h 1520"/>
              <a:gd name="T62" fmla="*/ 1224 w 2080"/>
              <a:gd name="T63" fmla="*/ 1170 h 1520"/>
              <a:gd name="T64" fmla="*/ 1200 w 2080"/>
              <a:gd name="T65" fmla="*/ 1200 h 1520"/>
              <a:gd name="T66" fmla="*/ 1200 w 2080"/>
              <a:gd name="T67" fmla="*/ 400 h 1520"/>
              <a:gd name="T68" fmla="*/ 1840 w 2080"/>
              <a:gd name="T69" fmla="*/ 400 h 1520"/>
              <a:gd name="T70" fmla="*/ 240 w 2080"/>
              <a:gd name="T71" fmla="*/ 480 h 1520"/>
              <a:gd name="T72" fmla="*/ 240 w 2080"/>
              <a:gd name="T73" fmla="*/ 560 h 1520"/>
              <a:gd name="T74" fmla="*/ 959 w 2080"/>
              <a:gd name="T75" fmla="*/ 560 h 1520"/>
              <a:gd name="T76" fmla="*/ 959 w 2080"/>
              <a:gd name="T77" fmla="*/ 480 h 1520"/>
              <a:gd name="T78" fmla="*/ 240 w 2080"/>
              <a:gd name="T79" fmla="*/ 480 h 1520"/>
              <a:gd name="T80" fmla="*/ 241 w 2080"/>
              <a:gd name="T81" fmla="*/ 719 h 1520"/>
              <a:gd name="T82" fmla="*/ 241 w 2080"/>
              <a:gd name="T83" fmla="*/ 799 h 1520"/>
              <a:gd name="T84" fmla="*/ 960 w 2080"/>
              <a:gd name="T85" fmla="*/ 799 h 1520"/>
              <a:gd name="T86" fmla="*/ 960 w 2080"/>
              <a:gd name="T87" fmla="*/ 719 h 1520"/>
              <a:gd name="T88" fmla="*/ 241 w 2080"/>
              <a:gd name="T89" fmla="*/ 719 h 1520"/>
              <a:gd name="T90" fmla="*/ 241 w 2080"/>
              <a:gd name="T91" fmla="*/ 960 h 1520"/>
              <a:gd name="T92" fmla="*/ 241 w 2080"/>
              <a:gd name="T93" fmla="*/ 1040 h 1520"/>
              <a:gd name="T94" fmla="*/ 720 w 2080"/>
              <a:gd name="T95" fmla="*/ 1040 h 1520"/>
              <a:gd name="T96" fmla="*/ 720 w 2080"/>
              <a:gd name="T97" fmla="*/ 960 h 1520"/>
              <a:gd name="T98" fmla="*/ 241 w 2080"/>
              <a:gd name="T99" fmla="*/ 96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520">
                <a:moveTo>
                  <a:pt x="160" y="0"/>
                </a:moveTo>
                <a:cubicBezTo>
                  <a:pt x="1920" y="0"/>
                  <a:pt x="1920" y="0"/>
                  <a:pt x="1920" y="0"/>
                </a:cubicBezTo>
                <a:cubicBezTo>
                  <a:pt x="2008" y="0"/>
                  <a:pt x="2080" y="72"/>
                  <a:pt x="2080" y="160"/>
                </a:cubicBezTo>
                <a:cubicBezTo>
                  <a:pt x="2080" y="1360"/>
                  <a:pt x="2080" y="1360"/>
                  <a:pt x="2080" y="1360"/>
                </a:cubicBezTo>
                <a:cubicBezTo>
                  <a:pt x="2080" y="1448"/>
                  <a:pt x="2008" y="1520"/>
                  <a:pt x="1920" y="1520"/>
                </a:cubicBezTo>
                <a:cubicBezTo>
                  <a:pt x="160" y="1520"/>
                  <a:pt x="160" y="1520"/>
                  <a:pt x="160" y="1520"/>
                </a:cubicBezTo>
                <a:cubicBezTo>
                  <a:pt x="72" y="1520"/>
                  <a:pt x="0" y="1448"/>
                  <a:pt x="0" y="13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72"/>
                  <a:pt x="72" y="0"/>
                  <a:pt x="160" y="0"/>
                </a:cubicBezTo>
                <a:close/>
                <a:moveTo>
                  <a:pt x="1120" y="320"/>
                </a:moveTo>
                <a:cubicBezTo>
                  <a:pt x="1120" y="1360"/>
                  <a:pt x="1120" y="1360"/>
                  <a:pt x="1120" y="1360"/>
                </a:cubicBezTo>
                <a:cubicBezTo>
                  <a:pt x="1920" y="1360"/>
                  <a:pt x="1920" y="1360"/>
                  <a:pt x="1920" y="1360"/>
                </a:cubicBezTo>
                <a:cubicBezTo>
                  <a:pt x="1920" y="320"/>
                  <a:pt x="1920" y="320"/>
                  <a:pt x="1920" y="320"/>
                </a:cubicBezTo>
                <a:lnTo>
                  <a:pt x="1120" y="320"/>
                </a:lnTo>
                <a:close/>
                <a:moveTo>
                  <a:pt x="1840" y="400"/>
                </a:moveTo>
                <a:cubicBezTo>
                  <a:pt x="1840" y="1200"/>
                  <a:pt x="1840" y="1200"/>
                  <a:pt x="1840" y="1200"/>
                </a:cubicBezTo>
                <a:cubicBezTo>
                  <a:pt x="1833" y="1189"/>
                  <a:pt x="1825" y="1178"/>
                  <a:pt x="1816" y="1170"/>
                </a:cubicBezTo>
                <a:cubicBezTo>
                  <a:pt x="1799" y="1154"/>
                  <a:pt x="1772" y="1144"/>
                  <a:pt x="1750" y="1136"/>
                </a:cubicBezTo>
                <a:cubicBezTo>
                  <a:pt x="1714" y="1123"/>
                  <a:pt x="1693" y="1122"/>
                  <a:pt x="1660" y="1102"/>
                </a:cubicBezTo>
                <a:cubicBezTo>
                  <a:pt x="1628" y="1083"/>
                  <a:pt x="1626" y="1029"/>
                  <a:pt x="1625" y="996"/>
                </a:cubicBezTo>
                <a:cubicBezTo>
                  <a:pt x="1654" y="968"/>
                  <a:pt x="1679" y="908"/>
                  <a:pt x="1689" y="871"/>
                </a:cubicBezTo>
                <a:cubicBezTo>
                  <a:pt x="1722" y="855"/>
                  <a:pt x="1734" y="813"/>
                  <a:pt x="1724" y="779"/>
                </a:cubicBezTo>
                <a:cubicBezTo>
                  <a:pt x="1731" y="671"/>
                  <a:pt x="1731" y="671"/>
                  <a:pt x="1731" y="671"/>
                </a:cubicBezTo>
                <a:cubicBezTo>
                  <a:pt x="1738" y="594"/>
                  <a:pt x="1645" y="507"/>
                  <a:pt x="1568" y="545"/>
                </a:cubicBezTo>
                <a:cubicBezTo>
                  <a:pt x="1548" y="532"/>
                  <a:pt x="1536" y="525"/>
                  <a:pt x="1511" y="521"/>
                </a:cubicBezTo>
                <a:cubicBezTo>
                  <a:pt x="1413" y="505"/>
                  <a:pt x="1307" y="564"/>
                  <a:pt x="1309" y="672"/>
                </a:cubicBezTo>
                <a:cubicBezTo>
                  <a:pt x="1316" y="779"/>
                  <a:pt x="1316" y="779"/>
                  <a:pt x="1316" y="779"/>
                </a:cubicBezTo>
                <a:cubicBezTo>
                  <a:pt x="1306" y="812"/>
                  <a:pt x="1318" y="855"/>
                  <a:pt x="1351" y="871"/>
                </a:cubicBezTo>
                <a:cubicBezTo>
                  <a:pt x="1361" y="909"/>
                  <a:pt x="1387" y="969"/>
                  <a:pt x="1415" y="996"/>
                </a:cubicBezTo>
                <a:cubicBezTo>
                  <a:pt x="1415" y="1028"/>
                  <a:pt x="1410" y="1084"/>
                  <a:pt x="1380" y="1102"/>
                </a:cubicBezTo>
                <a:cubicBezTo>
                  <a:pt x="1347" y="1122"/>
                  <a:pt x="1326" y="1123"/>
                  <a:pt x="1290" y="1136"/>
                </a:cubicBezTo>
                <a:cubicBezTo>
                  <a:pt x="1268" y="1144"/>
                  <a:pt x="1241" y="1154"/>
                  <a:pt x="1224" y="1170"/>
                </a:cubicBezTo>
                <a:cubicBezTo>
                  <a:pt x="1215" y="1178"/>
                  <a:pt x="1207" y="1189"/>
                  <a:pt x="1200" y="1200"/>
                </a:cubicBezTo>
                <a:cubicBezTo>
                  <a:pt x="1200" y="400"/>
                  <a:pt x="1200" y="400"/>
                  <a:pt x="1200" y="400"/>
                </a:cubicBezTo>
                <a:lnTo>
                  <a:pt x="1840" y="400"/>
                </a:lnTo>
                <a:close/>
                <a:moveTo>
                  <a:pt x="240" y="480"/>
                </a:moveTo>
                <a:cubicBezTo>
                  <a:pt x="240" y="560"/>
                  <a:pt x="240" y="560"/>
                  <a:pt x="240" y="560"/>
                </a:cubicBezTo>
                <a:cubicBezTo>
                  <a:pt x="959" y="560"/>
                  <a:pt x="959" y="560"/>
                  <a:pt x="959" y="560"/>
                </a:cubicBezTo>
                <a:cubicBezTo>
                  <a:pt x="959" y="480"/>
                  <a:pt x="959" y="480"/>
                  <a:pt x="959" y="480"/>
                </a:cubicBezTo>
                <a:lnTo>
                  <a:pt x="240" y="480"/>
                </a:lnTo>
                <a:close/>
                <a:moveTo>
                  <a:pt x="241" y="719"/>
                </a:moveTo>
                <a:cubicBezTo>
                  <a:pt x="241" y="799"/>
                  <a:pt x="241" y="799"/>
                  <a:pt x="241" y="799"/>
                </a:cubicBezTo>
                <a:cubicBezTo>
                  <a:pt x="960" y="799"/>
                  <a:pt x="960" y="799"/>
                  <a:pt x="960" y="799"/>
                </a:cubicBezTo>
                <a:cubicBezTo>
                  <a:pt x="960" y="719"/>
                  <a:pt x="960" y="719"/>
                  <a:pt x="960" y="719"/>
                </a:cubicBezTo>
                <a:lnTo>
                  <a:pt x="241" y="719"/>
                </a:lnTo>
                <a:close/>
                <a:moveTo>
                  <a:pt x="241" y="960"/>
                </a:moveTo>
                <a:cubicBezTo>
                  <a:pt x="241" y="1040"/>
                  <a:pt x="241" y="1040"/>
                  <a:pt x="241" y="1040"/>
                </a:cubicBezTo>
                <a:cubicBezTo>
                  <a:pt x="720" y="1040"/>
                  <a:pt x="720" y="1040"/>
                  <a:pt x="720" y="1040"/>
                </a:cubicBezTo>
                <a:cubicBezTo>
                  <a:pt x="720" y="960"/>
                  <a:pt x="720" y="960"/>
                  <a:pt x="720" y="960"/>
                </a:cubicBezTo>
                <a:lnTo>
                  <a:pt x="241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 bwMode="gray">
          <a:xfrm>
            <a:off x="8039648" y="191732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eftijd</a:t>
            </a:r>
          </a:p>
        </p:txBody>
      </p:sp>
      <p:graphicFrame>
        <p:nvGraphicFramePr>
          <p:cNvPr id="74" name="Chart 73"/>
          <p:cNvGraphicFramePr/>
          <p:nvPr>
            <p:extLst>
              <p:ext uri="{D42A27DB-BD31-4B8C-83A1-F6EECF244321}">
                <p14:modId xmlns:p14="http://schemas.microsoft.com/office/powerpoint/2010/main" val="3165661083"/>
              </p:ext>
            </p:extLst>
          </p:nvPr>
        </p:nvGraphicFramePr>
        <p:xfrm>
          <a:off x="7242100" y="2134448"/>
          <a:ext cx="2424182" cy="1390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75" name="Picture 2" descr="C:\Users\karolien.smets\Pictures\NL_land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4969" y="2298266"/>
            <a:ext cx="576677" cy="198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3" descr="C:\Users\karolien.smets\Pictures\FR_land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2444" y="3205893"/>
            <a:ext cx="528801" cy="287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6" descr="File:Flag map of Brussels.sv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20269" y="2746114"/>
            <a:ext cx="266076" cy="235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Box 29"/>
          <p:cNvSpPr txBox="1"/>
          <p:nvPr/>
        </p:nvSpPr>
        <p:spPr bwMode="gray">
          <a:xfrm>
            <a:off x="10481413" y="2303200"/>
            <a:ext cx="475698" cy="184666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48%</a:t>
            </a:r>
          </a:p>
        </p:txBody>
      </p:sp>
      <p:sp>
        <p:nvSpPr>
          <p:cNvPr id="79" name="TextBox 29"/>
          <p:cNvSpPr txBox="1"/>
          <p:nvPr/>
        </p:nvSpPr>
        <p:spPr bwMode="gray">
          <a:xfrm>
            <a:off x="10450337" y="2792794"/>
            <a:ext cx="506774" cy="18466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15%</a:t>
            </a:r>
          </a:p>
        </p:txBody>
      </p:sp>
      <p:sp>
        <p:nvSpPr>
          <p:cNvPr id="80" name="TextBox 29"/>
          <p:cNvSpPr txBox="1"/>
          <p:nvPr/>
        </p:nvSpPr>
        <p:spPr bwMode="gray">
          <a:xfrm>
            <a:off x="10455093" y="3235210"/>
            <a:ext cx="506774" cy="18466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sz="1200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36%</a:t>
            </a:r>
          </a:p>
        </p:txBody>
      </p:sp>
      <p:sp>
        <p:nvSpPr>
          <p:cNvPr id="81" name="TextBox 80"/>
          <p:cNvSpPr txBox="1"/>
          <p:nvPr/>
        </p:nvSpPr>
        <p:spPr bwMode="gray">
          <a:xfrm>
            <a:off x="9711208" y="192258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gio</a:t>
            </a:r>
          </a:p>
        </p:txBody>
      </p:sp>
      <p:cxnSp>
        <p:nvCxnSpPr>
          <p:cNvPr id="83" name="Straight Connector 82"/>
          <p:cNvCxnSpPr/>
          <p:nvPr/>
        </p:nvCxnSpPr>
        <p:spPr>
          <a:xfrm flipV="1">
            <a:off x="8895862" y="4087072"/>
            <a:ext cx="90000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 bwMode="gray">
          <a:xfrm>
            <a:off x="10083621" y="4206982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7%</a:t>
            </a:r>
          </a:p>
        </p:txBody>
      </p:sp>
      <p:sp>
        <p:nvSpPr>
          <p:cNvPr id="85" name="TextBox 84"/>
          <p:cNvSpPr txBox="1"/>
          <p:nvPr/>
        </p:nvSpPr>
        <p:spPr bwMode="gray">
          <a:xfrm>
            <a:off x="8567044" y="4127388"/>
            <a:ext cx="177460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bruik van smartphone in het verkeer als voetganger</a:t>
            </a:r>
          </a:p>
        </p:txBody>
      </p:sp>
      <p:sp>
        <p:nvSpPr>
          <p:cNvPr id="86" name="TextBox 85"/>
          <p:cNvSpPr txBox="1"/>
          <p:nvPr/>
        </p:nvSpPr>
        <p:spPr bwMode="gray">
          <a:xfrm>
            <a:off x="10107262" y="4608859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2%</a:t>
            </a:r>
          </a:p>
        </p:txBody>
      </p:sp>
      <p:sp>
        <p:nvSpPr>
          <p:cNvPr id="87" name="TextBox 86"/>
          <p:cNvSpPr txBox="1"/>
          <p:nvPr/>
        </p:nvSpPr>
        <p:spPr bwMode="gray">
          <a:xfrm>
            <a:off x="8621206" y="4973865"/>
            <a:ext cx="15911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aten terwijl je een overweg oversteekt</a:t>
            </a:r>
          </a:p>
        </p:txBody>
      </p:sp>
      <p:sp>
        <p:nvSpPr>
          <p:cNvPr id="88" name="TextBox 87"/>
          <p:cNvSpPr txBox="1"/>
          <p:nvPr/>
        </p:nvSpPr>
        <p:spPr bwMode="gray">
          <a:xfrm>
            <a:off x="10120937" y="5058000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9%</a:t>
            </a:r>
          </a:p>
        </p:txBody>
      </p:sp>
      <p:sp>
        <p:nvSpPr>
          <p:cNvPr id="89" name="TextBox 88"/>
          <p:cNvSpPr txBox="1"/>
          <p:nvPr/>
        </p:nvSpPr>
        <p:spPr bwMode="gray">
          <a:xfrm>
            <a:off x="8587291" y="4566876"/>
            <a:ext cx="173374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bruik van smartphone in het verkeer in de auto</a:t>
            </a:r>
          </a:p>
        </p:txBody>
      </p:sp>
      <p:sp>
        <p:nvSpPr>
          <p:cNvPr id="90" name="Freeform 1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668729" y="3664250"/>
            <a:ext cx="292481" cy="340814"/>
          </a:xfrm>
          <a:custGeom>
            <a:avLst/>
            <a:gdLst>
              <a:gd name="T0" fmla="*/ 68 w 1693"/>
              <a:gd name="T1" fmla="*/ 1211 h 1973"/>
              <a:gd name="T2" fmla="*/ 8 w 1693"/>
              <a:gd name="T3" fmla="*/ 900 h 1973"/>
              <a:gd name="T4" fmla="*/ 108 w 1693"/>
              <a:gd name="T5" fmla="*/ 558 h 1973"/>
              <a:gd name="T6" fmla="*/ 340 w 1693"/>
              <a:gd name="T7" fmla="*/ 409 h 1973"/>
              <a:gd name="T8" fmla="*/ 680 w 1693"/>
              <a:gd name="T9" fmla="*/ 705 h 1973"/>
              <a:gd name="T10" fmla="*/ 694 w 1693"/>
              <a:gd name="T11" fmla="*/ 1022 h 1973"/>
              <a:gd name="T12" fmla="*/ 704 w 1693"/>
              <a:gd name="T13" fmla="*/ 1334 h 1973"/>
              <a:gd name="T14" fmla="*/ 711 w 1693"/>
              <a:gd name="T15" fmla="*/ 1369 h 1973"/>
              <a:gd name="T16" fmla="*/ 204 w 1693"/>
              <a:gd name="T17" fmla="*/ 1528 h 1973"/>
              <a:gd name="T18" fmla="*/ 188 w 1693"/>
              <a:gd name="T19" fmla="*/ 1496 h 1973"/>
              <a:gd name="T20" fmla="*/ 68 w 1693"/>
              <a:gd name="T21" fmla="*/ 1211 h 1973"/>
              <a:gd name="T22" fmla="*/ 709 w 1693"/>
              <a:gd name="T23" fmla="*/ 1480 h 1973"/>
              <a:gd name="T24" fmla="*/ 738 w 1693"/>
              <a:gd name="T25" fmla="*/ 1558 h 1973"/>
              <a:gd name="T26" fmla="*/ 610 w 1693"/>
              <a:gd name="T27" fmla="*/ 1929 h 1973"/>
              <a:gd name="T28" fmla="*/ 557 w 1693"/>
              <a:gd name="T29" fmla="*/ 1945 h 1973"/>
              <a:gd name="T30" fmla="*/ 247 w 1693"/>
              <a:gd name="T31" fmla="*/ 1712 h 1973"/>
              <a:gd name="T32" fmla="*/ 230 w 1693"/>
              <a:gd name="T33" fmla="*/ 1636 h 1973"/>
              <a:gd name="T34" fmla="*/ 709 w 1693"/>
              <a:gd name="T35" fmla="*/ 1480 h 1973"/>
              <a:gd name="T36" fmla="*/ 1685 w 1693"/>
              <a:gd name="T37" fmla="*/ 501 h 1973"/>
              <a:gd name="T38" fmla="*/ 1625 w 1693"/>
              <a:gd name="T39" fmla="*/ 813 h 1973"/>
              <a:gd name="T40" fmla="*/ 1504 w 1693"/>
              <a:gd name="T41" fmla="*/ 1098 h 1973"/>
              <a:gd name="T42" fmla="*/ 1489 w 1693"/>
              <a:gd name="T43" fmla="*/ 1129 h 1973"/>
              <a:gd name="T44" fmla="*/ 982 w 1693"/>
              <a:gd name="T45" fmla="*/ 970 h 1973"/>
              <a:gd name="T46" fmla="*/ 989 w 1693"/>
              <a:gd name="T47" fmla="*/ 935 h 1973"/>
              <a:gd name="T48" fmla="*/ 999 w 1693"/>
              <a:gd name="T49" fmla="*/ 624 h 1973"/>
              <a:gd name="T50" fmla="*/ 1013 w 1693"/>
              <a:gd name="T51" fmla="*/ 307 h 1973"/>
              <a:gd name="T52" fmla="*/ 1352 w 1693"/>
              <a:gd name="T53" fmla="*/ 10 h 1973"/>
              <a:gd name="T54" fmla="*/ 1584 w 1693"/>
              <a:gd name="T55" fmla="*/ 159 h 1973"/>
              <a:gd name="T56" fmla="*/ 1685 w 1693"/>
              <a:gd name="T57" fmla="*/ 501 h 1973"/>
              <a:gd name="T58" fmla="*/ 1463 w 1693"/>
              <a:gd name="T59" fmla="*/ 1238 h 1973"/>
              <a:gd name="T60" fmla="*/ 1456 w 1693"/>
              <a:gd name="T61" fmla="*/ 1272 h 1973"/>
              <a:gd name="T62" fmla="*/ 1446 w 1693"/>
              <a:gd name="T63" fmla="*/ 1314 h 1973"/>
              <a:gd name="T64" fmla="*/ 1136 w 1693"/>
              <a:gd name="T65" fmla="*/ 1546 h 1973"/>
              <a:gd name="T66" fmla="*/ 1105 w 1693"/>
              <a:gd name="T67" fmla="*/ 1539 h 1973"/>
              <a:gd name="T68" fmla="*/ 1082 w 1693"/>
              <a:gd name="T69" fmla="*/ 1531 h 1973"/>
              <a:gd name="T70" fmla="*/ 954 w 1693"/>
              <a:gd name="T71" fmla="*/ 1160 h 1973"/>
              <a:gd name="T72" fmla="*/ 970 w 1693"/>
              <a:gd name="T73" fmla="*/ 1117 h 1973"/>
              <a:gd name="T74" fmla="*/ 984 w 1693"/>
              <a:gd name="T75" fmla="*/ 1082 h 1973"/>
              <a:gd name="T76" fmla="*/ 1463 w 1693"/>
              <a:gd name="T77" fmla="*/ 1238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3" h="1973">
                <a:moveTo>
                  <a:pt x="68" y="1211"/>
                </a:moveTo>
                <a:cubicBezTo>
                  <a:pt x="36" y="1116"/>
                  <a:pt x="16" y="1018"/>
                  <a:pt x="8" y="900"/>
                </a:cubicBezTo>
                <a:cubicBezTo>
                  <a:pt x="0" y="783"/>
                  <a:pt x="40" y="653"/>
                  <a:pt x="108" y="558"/>
                </a:cubicBezTo>
                <a:cubicBezTo>
                  <a:pt x="163" y="481"/>
                  <a:pt x="243" y="416"/>
                  <a:pt x="340" y="409"/>
                </a:cubicBezTo>
                <a:cubicBezTo>
                  <a:pt x="504" y="398"/>
                  <a:pt x="640" y="560"/>
                  <a:pt x="680" y="705"/>
                </a:cubicBezTo>
                <a:cubicBezTo>
                  <a:pt x="709" y="810"/>
                  <a:pt x="703" y="915"/>
                  <a:pt x="694" y="1022"/>
                </a:cubicBezTo>
                <a:cubicBezTo>
                  <a:pt x="682" y="1148"/>
                  <a:pt x="678" y="1199"/>
                  <a:pt x="704" y="1334"/>
                </a:cubicBezTo>
                <a:cubicBezTo>
                  <a:pt x="711" y="1369"/>
                  <a:pt x="711" y="1369"/>
                  <a:pt x="711" y="1369"/>
                </a:cubicBezTo>
                <a:cubicBezTo>
                  <a:pt x="542" y="1422"/>
                  <a:pt x="373" y="1474"/>
                  <a:pt x="204" y="1528"/>
                </a:cubicBezTo>
                <a:cubicBezTo>
                  <a:pt x="188" y="1496"/>
                  <a:pt x="188" y="1496"/>
                  <a:pt x="188" y="1496"/>
                </a:cubicBezTo>
                <a:cubicBezTo>
                  <a:pt x="139" y="1396"/>
                  <a:pt x="98" y="1306"/>
                  <a:pt x="68" y="1211"/>
                </a:cubicBezTo>
                <a:close/>
                <a:moveTo>
                  <a:pt x="709" y="1480"/>
                </a:moveTo>
                <a:cubicBezTo>
                  <a:pt x="720" y="1506"/>
                  <a:pt x="730" y="1532"/>
                  <a:pt x="738" y="1558"/>
                </a:cubicBezTo>
                <a:cubicBezTo>
                  <a:pt x="782" y="1701"/>
                  <a:pt x="767" y="1867"/>
                  <a:pt x="610" y="1929"/>
                </a:cubicBezTo>
                <a:cubicBezTo>
                  <a:pt x="593" y="1936"/>
                  <a:pt x="575" y="1941"/>
                  <a:pt x="557" y="1945"/>
                </a:cubicBezTo>
                <a:cubicBezTo>
                  <a:pt x="402" y="1973"/>
                  <a:pt x="288" y="1849"/>
                  <a:pt x="247" y="1712"/>
                </a:cubicBezTo>
                <a:cubicBezTo>
                  <a:pt x="239" y="1687"/>
                  <a:pt x="235" y="1662"/>
                  <a:pt x="230" y="1636"/>
                </a:cubicBezTo>
                <a:lnTo>
                  <a:pt x="709" y="1480"/>
                </a:lnTo>
                <a:close/>
                <a:moveTo>
                  <a:pt x="1685" y="501"/>
                </a:moveTo>
                <a:cubicBezTo>
                  <a:pt x="1677" y="619"/>
                  <a:pt x="1656" y="718"/>
                  <a:pt x="1625" y="813"/>
                </a:cubicBezTo>
                <a:cubicBezTo>
                  <a:pt x="1594" y="908"/>
                  <a:pt x="1553" y="997"/>
                  <a:pt x="1504" y="1098"/>
                </a:cubicBezTo>
                <a:cubicBezTo>
                  <a:pt x="1489" y="1129"/>
                  <a:pt x="1489" y="1129"/>
                  <a:pt x="1489" y="1129"/>
                </a:cubicBezTo>
                <a:cubicBezTo>
                  <a:pt x="982" y="970"/>
                  <a:pt x="982" y="970"/>
                  <a:pt x="982" y="970"/>
                </a:cubicBezTo>
                <a:cubicBezTo>
                  <a:pt x="989" y="935"/>
                  <a:pt x="989" y="935"/>
                  <a:pt x="989" y="935"/>
                </a:cubicBezTo>
                <a:cubicBezTo>
                  <a:pt x="1015" y="801"/>
                  <a:pt x="1011" y="750"/>
                  <a:pt x="999" y="624"/>
                </a:cubicBezTo>
                <a:cubicBezTo>
                  <a:pt x="990" y="517"/>
                  <a:pt x="984" y="412"/>
                  <a:pt x="1013" y="307"/>
                </a:cubicBezTo>
                <a:cubicBezTo>
                  <a:pt x="1053" y="162"/>
                  <a:pt x="1189" y="0"/>
                  <a:pt x="1352" y="10"/>
                </a:cubicBezTo>
                <a:cubicBezTo>
                  <a:pt x="1450" y="17"/>
                  <a:pt x="1530" y="83"/>
                  <a:pt x="1584" y="159"/>
                </a:cubicBezTo>
                <a:cubicBezTo>
                  <a:pt x="1652" y="255"/>
                  <a:pt x="1693" y="385"/>
                  <a:pt x="1685" y="501"/>
                </a:cubicBezTo>
                <a:close/>
                <a:moveTo>
                  <a:pt x="1463" y="1238"/>
                </a:moveTo>
                <a:cubicBezTo>
                  <a:pt x="1456" y="1272"/>
                  <a:pt x="1456" y="1272"/>
                  <a:pt x="1456" y="1272"/>
                </a:cubicBezTo>
                <a:cubicBezTo>
                  <a:pt x="1454" y="1286"/>
                  <a:pt x="1450" y="1300"/>
                  <a:pt x="1446" y="1314"/>
                </a:cubicBezTo>
                <a:cubicBezTo>
                  <a:pt x="1404" y="1451"/>
                  <a:pt x="1291" y="1575"/>
                  <a:pt x="1136" y="1546"/>
                </a:cubicBezTo>
                <a:cubicBezTo>
                  <a:pt x="1126" y="1544"/>
                  <a:pt x="1115" y="1542"/>
                  <a:pt x="1105" y="1539"/>
                </a:cubicBezTo>
                <a:cubicBezTo>
                  <a:pt x="1097" y="1536"/>
                  <a:pt x="1090" y="1534"/>
                  <a:pt x="1082" y="1531"/>
                </a:cubicBezTo>
                <a:cubicBezTo>
                  <a:pt x="895" y="1456"/>
                  <a:pt x="904" y="1323"/>
                  <a:pt x="954" y="1160"/>
                </a:cubicBezTo>
                <a:cubicBezTo>
                  <a:pt x="959" y="1146"/>
                  <a:pt x="964" y="1131"/>
                  <a:pt x="970" y="1117"/>
                </a:cubicBezTo>
                <a:cubicBezTo>
                  <a:pt x="984" y="1082"/>
                  <a:pt x="984" y="1082"/>
                  <a:pt x="984" y="1082"/>
                </a:cubicBezTo>
                <a:lnTo>
                  <a:pt x="1463" y="1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94" name="Group 2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264572" y="4202635"/>
            <a:ext cx="227864" cy="227953"/>
            <a:chOff x="331" y="-931"/>
            <a:chExt cx="5102" cy="5104"/>
          </a:xfrm>
          <a:solidFill>
            <a:schemeClr val="tx1"/>
          </a:solidFill>
        </p:grpSpPr>
        <p:sp>
          <p:nvSpPr>
            <p:cNvPr id="95" name="Freeform 23"/>
            <p:cNvSpPr>
              <a:spLocks/>
            </p:cNvSpPr>
            <p:nvPr/>
          </p:nvSpPr>
          <p:spPr bwMode="auto">
            <a:xfrm>
              <a:off x="2585" y="-931"/>
              <a:ext cx="2848" cy="4349"/>
            </a:xfrm>
            <a:custGeom>
              <a:avLst/>
              <a:gdLst>
                <a:gd name="T0" fmla="*/ 19 w 1206"/>
                <a:gd name="T1" fmla="*/ 558 h 1841"/>
                <a:gd name="T2" fmla="*/ 6 w 1206"/>
                <a:gd name="T3" fmla="*/ 348 h 1841"/>
                <a:gd name="T4" fmla="*/ 10 w 1206"/>
                <a:gd name="T5" fmla="*/ 286 h 1841"/>
                <a:gd name="T6" fmla="*/ 141 w 1206"/>
                <a:gd name="T7" fmla="*/ 78 h 1841"/>
                <a:gd name="T8" fmla="*/ 376 w 1206"/>
                <a:gd name="T9" fmla="*/ 2 h 1841"/>
                <a:gd name="T10" fmla="*/ 566 w 1206"/>
                <a:gd name="T11" fmla="*/ 49 h 1841"/>
                <a:gd name="T12" fmla="*/ 661 w 1206"/>
                <a:gd name="T13" fmla="*/ 37 h 1841"/>
                <a:gd name="T14" fmla="*/ 898 w 1206"/>
                <a:gd name="T15" fmla="*/ 212 h 1841"/>
                <a:gd name="T16" fmla="*/ 926 w 1206"/>
                <a:gd name="T17" fmla="*/ 346 h 1841"/>
                <a:gd name="T18" fmla="*/ 912 w 1206"/>
                <a:gd name="T19" fmla="*/ 558 h 1841"/>
                <a:gd name="T20" fmla="*/ 837 w 1206"/>
                <a:gd name="T21" fmla="*/ 772 h 1841"/>
                <a:gd name="T22" fmla="*/ 716 w 1206"/>
                <a:gd name="T23" fmla="*/ 1010 h 1841"/>
                <a:gd name="T24" fmla="*/ 726 w 1206"/>
                <a:gd name="T25" fmla="*/ 1102 h 1841"/>
                <a:gd name="T26" fmla="*/ 766 w 1206"/>
                <a:gd name="T27" fmla="*/ 1170 h 1841"/>
                <a:gd name="T28" fmla="*/ 874 w 1206"/>
                <a:gd name="T29" fmla="*/ 1216 h 1841"/>
                <a:gd name="T30" fmla="*/ 1083 w 1206"/>
                <a:gd name="T31" fmla="*/ 1313 h 1841"/>
                <a:gd name="T32" fmla="*/ 1173 w 1206"/>
                <a:gd name="T33" fmla="*/ 1450 h 1841"/>
                <a:gd name="T34" fmla="*/ 1206 w 1206"/>
                <a:gd name="T35" fmla="*/ 1619 h 1841"/>
                <a:gd name="T36" fmla="*/ 990 w 1206"/>
                <a:gd name="T37" fmla="*/ 1786 h 1841"/>
                <a:gd name="T38" fmla="*/ 466 w 1206"/>
                <a:gd name="T39" fmla="*/ 1841 h 1841"/>
                <a:gd name="T40" fmla="*/ 86 w 1206"/>
                <a:gd name="T41" fmla="*/ 1814 h 1841"/>
                <a:gd name="T42" fmla="*/ 86 w 1206"/>
                <a:gd name="T43" fmla="*/ 1208 h 1841"/>
                <a:gd name="T44" fmla="*/ 205 w 1206"/>
                <a:gd name="T45" fmla="*/ 1102 h 1841"/>
                <a:gd name="T46" fmla="*/ 216 w 1206"/>
                <a:gd name="T47" fmla="*/ 1010 h 1841"/>
                <a:gd name="T48" fmla="*/ 94 w 1206"/>
                <a:gd name="T49" fmla="*/ 772 h 1841"/>
                <a:gd name="T50" fmla="*/ 19 w 1206"/>
                <a:gd name="T51" fmla="*/ 558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6" h="1841">
                  <a:moveTo>
                    <a:pt x="19" y="558"/>
                  </a:moveTo>
                  <a:cubicBezTo>
                    <a:pt x="15" y="490"/>
                    <a:pt x="6" y="415"/>
                    <a:pt x="6" y="348"/>
                  </a:cubicBezTo>
                  <a:cubicBezTo>
                    <a:pt x="5" y="326"/>
                    <a:pt x="6" y="306"/>
                    <a:pt x="10" y="286"/>
                  </a:cubicBezTo>
                  <a:cubicBezTo>
                    <a:pt x="24" y="197"/>
                    <a:pt x="74" y="126"/>
                    <a:pt x="141" y="78"/>
                  </a:cubicBezTo>
                  <a:cubicBezTo>
                    <a:pt x="207" y="30"/>
                    <a:pt x="291" y="3"/>
                    <a:pt x="376" y="2"/>
                  </a:cubicBezTo>
                  <a:cubicBezTo>
                    <a:pt x="447" y="0"/>
                    <a:pt x="505" y="12"/>
                    <a:pt x="566" y="49"/>
                  </a:cubicBezTo>
                  <a:cubicBezTo>
                    <a:pt x="597" y="37"/>
                    <a:pt x="629" y="34"/>
                    <a:pt x="661" y="37"/>
                  </a:cubicBezTo>
                  <a:cubicBezTo>
                    <a:pt x="762" y="46"/>
                    <a:pt x="854" y="122"/>
                    <a:pt x="898" y="212"/>
                  </a:cubicBezTo>
                  <a:cubicBezTo>
                    <a:pt x="919" y="254"/>
                    <a:pt x="930" y="301"/>
                    <a:pt x="926" y="346"/>
                  </a:cubicBezTo>
                  <a:cubicBezTo>
                    <a:pt x="912" y="558"/>
                    <a:pt x="912" y="558"/>
                    <a:pt x="912" y="558"/>
                  </a:cubicBezTo>
                  <a:cubicBezTo>
                    <a:pt x="932" y="636"/>
                    <a:pt x="906" y="727"/>
                    <a:pt x="837" y="772"/>
                  </a:cubicBezTo>
                  <a:cubicBezTo>
                    <a:pt x="814" y="849"/>
                    <a:pt x="770" y="949"/>
                    <a:pt x="716" y="1010"/>
                  </a:cubicBezTo>
                  <a:cubicBezTo>
                    <a:pt x="717" y="1038"/>
                    <a:pt x="719" y="1072"/>
                    <a:pt x="726" y="1102"/>
                  </a:cubicBezTo>
                  <a:cubicBezTo>
                    <a:pt x="733" y="1132"/>
                    <a:pt x="745" y="1159"/>
                    <a:pt x="766" y="1170"/>
                  </a:cubicBezTo>
                  <a:cubicBezTo>
                    <a:pt x="802" y="1194"/>
                    <a:pt x="833" y="1204"/>
                    <a:pt x="874" y="1216"/>
                  </a:cubicBezTo>
                  <a:cubicBezTo>
                    <a:pt x="940" y="1236"/>
                    <a:pt x="1037" y="1268"/>
                    <a:pt x="1083" y="1313"/>
                  </a:cubicBezTo>
                  <a:cubicBezTo>
                    <a:pt x="1122" y="1351"/>
                    <a:pt x="1152" y="1399"/>
                    <a:pt x="1173" y="1450"/>
                  </a:cubicBezTo>
                  <a:cubicBezTo>
                    <a:pt x="1194" y="1505"/>
                    <a:pt x="1206" y="1563"/>
                    <a:pt x="1206" y="1619"/>
                  </a:cubicBezTo>
                  <a:cubicBezTo>
                    <a:pt x="1206" y="1700"/>
                    <a:pt x="1115" y="1753"/>
                    <a:pt x="990" y="1786"/>
                  </a:cubicBezTo>
                  <a:cubicBezTo>
                    <a:pt x="827" y="1828"/>
                    <a:pt x="600" y="1841"/>
                    <a:pt x="466" y="1841"/>
                  </a:cubicBezTo>
                  <a:cubicBezTo>
                    <a:pt x="368" y="1841"/>
                    <a:pt x="221" y="1834"/>
                    <a:pt x="86" y="1814"/>
                  </a:cubicBezTo>
                  <a:cubicBezTo>
                    <a:pt x="86" y="1208"/>
                    <a:pt x="86" y="1208"/>
                    <a:pt x="86" y="1208"/>
                  </a:cubicBezTo>
                  <a:cubicBezTo>
                    <a:pt x="150" y="1187"/>
                    <a:pt x="188" y="1171"/>
                    <a:pt x="205" y="1102"/>
                  </a:cubicBezTo>
                  <a:cubicBezTo>
                    <a:pt x="212" y="1072"/>
                    <a:pt x="215" y="1038"/>
                    <a:pt x="216" y="1010"/>
                  </a:cubicBezTo>
                  <a:cubicBezTo>
                    <a:pt x="162" y="950"/>
                    <a:pt x="118" y="849"/>
                    <a:pt x="94" y="772"/>
                  </a:cubicBezTo>
                  <a:cubicBezTo>
                    <a:pt x="26" y="727"/>
                    <a:pt x="0" y="636"/>
                    <a:pt x="19" y="5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Freeform 24"/>
            <p:cNvSpPr>
              <a:spLocks noEditPoints="1"/>
            </p:cNvSpPr>
            <p:nvPr/>
          </p:nvSpPr>
          <p:spPr bwMode="auto">
            <a:xfrm>
              <a:off x="331" y="772"/>
              <a:ext cx="2268" cy="3401"/>
            </a:xfrm>
            <a:custGeom>
              <a:avLst/>
              <a:gdLst>
                <a:gd name="T0" fmla="*/ 141 w 960"/>
                <a:gd name="T1" fmla="*/ 0 h 1440"/>
                <a:gd name="T2" fmla="*/ 818 w 960"/>
                <a:gd name="T3" fmla="*/ 0 h 1440"/>
                <a:gd name="T4" fmla="*/ 960 w 960"/>
                <a:gd name="T5" fmla="*/ 142 h 1440"/>
                <a:gd name="T6" fmla="*/ 960 w 960"/>
                <a:gd name="T7" fmla="*/ 1299 h 1440"/>
                <a:gd name="T8" fmla="*/ 818 w 960"/>
                <a:gd name="T9" fmla="*/ 1440 h 1440"/>
                <a:gd name="T10" fmla="*/ 141 w 960"/>
                <a:gd name="T11" fmla="*/ 1440 h 1440"/>
                <a:gd name="T12" fmla="*/ 0 w 960"/>
                <a:gd name="T13" fmla="*/ 1299 h 1440"/>
                <a:gd name="T14" fmla="*/ 0 w 960"/>
                <a:gd name="T15" fmla="*/ 142 h 1440"/>
                <a:gd name="T16" fmla="*/ 141 w 960"/>
                <a:gd name="T17" fmla="*/ 0 h 1440"/>
                <a:gd name="T18" fmla="*/ 400 w 960"/>
                <a:gd name="T19" fmla="*/ 200 h 1440"/>
                <a:gd name="T20" fmla="*/ 560 w 960"/>
                <a:gd name="T21" fmla="*/ 200 h 1440"/>
                <a:gd name="T22" fmla="*/ 600 w 960"/>
                <a:gd name="T23" fmla="*/ 160 h 1440"/>
                <a:gd name="T24" fmla="*/ 560 w 960"/>
                <a:gd name="T25" fmla="*/ 120 h 1440"/>
                <a:gd name="T26" fmla="*/ 400 w 960"/>
                <a:gd name="T27" fmla="*/ 120 h 1440"/>
                <a:gd name="T28" fmla="*/ 360 w 960"/>
                <a:gd name="T29" fmla="*/ 160 h 1440"/>
                <a:gd name="T30" fmla="*/ 400 w 960"/>
                <a:gd name="T31" fmla="*/ 200 h 1440"/>
                <a:gd name="T32" fmla="*/ 480 w 960"/>
                <a:gd name="T33" fmla="*/ 1160 h 1440"/>
                <a:gd name="T34" fmla="*/ 400 w 960"/>
                <a:gd name="T35" fmla="*/ 1240 h 1440"/>
                <a:gd name="T36" fmla="*/ 480 w 960"/>
                <a:gd name="T37" fmla="*/ 1320 h 1440"/>
                <a:gd name="T38" fmla="*/ 560 w 960"/>
                <a:gd name="T39" fmla="*/ 1240 h 1440"/>
                <a:gd name="T40" fmla="*/ 480 w 960"/>
                <a:gd name="T41" fmla="*/ 1160 h 1440"/>
                <a:gd name="T42" fmla="*/ 800 w 960"/>
                <a:gd name="T43" fmla="*/ 240 h 1440"/>
                <a:gd name="T44" fmla="*/ 160 w 960"/>
                <a:gd name="T45" fmla="*/ 240 h 1440"/>
                <a:gd name="T46" fmla="*/ 160 w 960"/>
                <a:gd name="T47" fmla="*/ 1120 h 1440"/>
                <a:gd name="T48" fmla="*/ 800 w 960"/>
                <a:gd name="T49" fmla="*/ 1120 h 1440"/>
                <a:gd name="T50" fmla="*/ 800 w 960"/>
                <a:gd name="T51" fmla="*/ 2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0" h="1440">
                  <a:moveTo>
                    <a:pt x="141" y="0"/>
                  </a:moveTo>
                  <a:cubicBezTo>
                    <a:pt x="818" y="0"/>
                    <a:pt x="818" y="0"/>
                    <a:pt x="818" y="0"/>
                  </a:cubicBezTo>
                  <a:cubicBezTo>
                    <a:pt x="896" y="0"/>
                    <a:pt x="960" y="64"/>
                    <a:pt x="960" y="142"/>
                  </a:cubicBezTo>
                  <a:cubicBezTo>
                    <a:pt x="960" y="1299"/>
                    <a:pt x="960" y="1299"/>
                    <a:pt x="960" y="1299"/>
                  </a:cubicBezTo>
                  <a:cubicBezTo>
                    <a:pt x="960" y="1376"/>
                    <a:pt x="896" y="1440"/>
                    <a:pt x="818" y="1440"/>
                  </a:cubicBezTo>
                  <a:cubicBezTo>
                    <a:pt x="141" y="1440"/>
                    <a:pt x="141" y="1440"/>
                    <a:pt x="141" y="1440"/>
                  </a:cubicBezTo>
                  <a:cubicBezTo>
                    <a:pt x="64" y="1440"/>
                    <a:pt x="0" y="1376"/>
                    <a:pt x="0" y="1299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64"/>
                    <a:pt x="63" y="0"/>
                    <a:pt x="141" y="0"/>
                  </a:cubicBezTo>
                  <a:close/>
                  <a:moveTo>
                    <a:pt x="400" y="200"/>
                  </a:moveTo>
                  <a:cubicBezTo>
                    <a:pt x="560" y="200"/>
                    <a:pt x="560" y="200"/>
                    <a:pt x="560" y="200"/>
                  </a:cubicBezTo>
                  <a:cubicBezTo>
                    <a:pt x="582" y="200"/>
                    <a:pt x="600" y="182"/>
                    <a:pt x="600" y="160"/>
                  </a:cubicBezTo>
                  <a:cubicBezTo>
                    <a:pt x="600" y="138"/>
                    <a:pt x="582" y="120"/>
                    <a:pt x="560" y="120"/>
                  </a:cubicBezTo>
                  <a:cubicBezTo>
                    <a:pt x="400" y="120"/>
                    <a:pt x="400" y="120"/>
                    <a:pt x="400" y="120"/>
                  </a:cubicBezTo>
                  <a:cubicBezTo>
                    <a:pt x="378" y="120"/>
                    <a:pt x="360" y="138"/>
                    <a:pt x="360" y="160"/>
                  </a:cubicBezTo>
                  <a:cubicBezTo>
                    <a:pt x="360" y="182"/>
                    <a:pt x="378" y="200"/>
                    <a:pt x="400" y="200"/>
                  </a:cubicBezTo>
                  <a:close/>
                  <a:moveTo>
                    <a:pt x="480" y="1160"/>
                  </a:moveTo>
                  <a:cubicBezTo>
                    <a:pt x="436" y="1160"/>
                    <a:pt x="400" y="1196"/>
                    <a:pt x="400" y="1240"/>
                  </a:cubicBezTo>
                  <a:cubicBezTo>
                    <a:pt x="400" y="1284"/>
                    <a:pt x="436" y="1320"/>
                    <a:pt x="480" y="1320"/>
                  </a:cubicBezTo>
                  <a:cubicBezTo>
                    <a:pt x="524" y="1320"/>
                    <a:pt x="560" y="1284"/>
                    <a:pt x="560" y="1240"/>
                  </a:cubicBezTo>
                  <a:cubicBezTo>
                    <a:pt x="560" y="1196"/>
                    <a:pt x="524" y="1160"/>
                    <a:pt x="480" y="1160"/>
                  </a:cubicBezTo>
                  <a:close/>
                  <a:moveTo>
                    <a:pt x="800" y="240"/>
                  </a:moveTo>
                  <a:cubicBezTo>
                    <a:pt x="160" y="240"/>
                    <a:pt x="160" y="240"/>
                    <a:pt x="160" y="240"/>
                  </a:cubicBezTo>
                  <a:cubicBezTo>
                    <a:pt x="160" y="1120"/>
                    <a:pt x="160" y="1120"/>
                    <a:pt x="160" y="1120"/>
                  </a:cubicBezTo>
                  <a:cubicBezTo>
                    <a:pt x="800" y="1120"/>
                    <a:pt x="800" y="1120"/>
                    <a:pt x="800" y="1120"/>
                  </a:cubicBezTo>
                  <a:lnTo>
                    <a:pt x="80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7" name="Group 39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276112" y="5019059"/>
            <a:ext cx="204784" cy="213224"/>
            <a:chOff x="612" y="-742"/>
            <a:chExt cx="4537" cy="4724"/>
          </a:xfrm>
          <a:solidFill>
            <a:schemeClr val="tx1"/>
          </a:solidFill>
        </p:grpSpPr>
        <p:sp>
          <p:nvSpPr>
            <p:cNvPr id="98" name="Freeform 40"/>
            <p:cNvSpPr>
              <a:spLocks/>
            </p:cNvSpPr>
            <p:nvPr/>
          </p:nvSpPr>
          <p:spPr bwMode="auto">
            <a:xfrm>
              <a:off x="612" y="-742"/>
              <a:ext cx="2487" cy="2697"/>
            </a:xfrm>
            <a:custGeom>
              <a:avLst/>
              <a:gdLst>
                <a:gd name="T0" fmla="*/ 188 w 1053"/>
                <a:gd name="T1" fmla="*/ 825 h 1142"/>
                <a:gd name="T2" fmla="*/ 0 w 1053"/>
                <a:gd name="T3" fmla="*/ 478 h 1142"/>
                <a:gd name="T4" fmla="*/ 600 w 1053"/>
                <a:gd name="T5" fmla="*/ 0 h 1142"/>
                <a:gd name="T6" fmla="*/ 1053 w 1053"/>
                <a:gd name="T7" fmla="*/ 165 h 1142"/>
                <a:gd name="T8" fmla="*/ 837 w 1053"/>
                <a:gd name="T9" fmla="*/ 249 h 1142"/>
                <a:gd name="T10" fmla="*/ 677 w 1053"/>
                <a:gd name="T11" fmla="*/ 503 h 1142"/>
                <a:gd name="T12" fmla="*/ 672 w 1053"/>
                <a:gd name="T13" fmla="*/ 579 h 1142"/>
                <a:gd name="T14" fmla="*/ 684 w 1053"/>
                <a:gd name="T15" fmla="*/ 767 h 1142"/>
                <a:gd name="T16" fmla="*/ 698 w 1053"/>
                <a:gd name="T17" fmla="*/ 924 h 1142"/>
                <a:gd name="T18" fmla="*/ 710 w 1053"/>
                <a:gd name="T19" fmla="*/ 950 h 1142"/>
                <a:gd name="T20" fmla="*/ 600 w 1053"/>
                <a:gd name="T21" fmla="*/ 959 h 1142"/>
                <a:gd name="T22" fmla="*/ 484 w 1053"/>
                <a:gd name="T23" fmla="*/ 989 h 1142"/>
                <a:gd name="T24" fmla="*/ 482 w 1053"/>
                <a:gd name="T25" fmla="*/ 1071 h 1142"/>
                <a:gd name="T26" fmla="*/ 499 w 1053"/>
                <a:gd name="T27" fmla="*/ 1142 h 1142"/>
                <a:gd name="T28" fmla="*/ 430 w 1053"/>
                <a:gd name="T29" fmla="*/ 1118 h 1142"/>
                <a:gd name="T30" fmla="*/ 188 w 1053"/>
                <a:gd name="T31" fmla="*/ 825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3" h="1142">
                  <a:moveTo>
                    <a:pt x="188" y="825"/>
                  </a:moveTo>
                  <a:cubicBezTo>
                    <a:pt x="76" y="742"/>
                    <a:pt x="0" y="620"/>
                    <a:pt x="0" y="478"/>
                  </a:cubicBezTo>
                  <a:cubicBezTo>
                    <a:pt x="0" y="171"/>
                    <a:pt x="326" y="0"/>
                    <a:pt x="600" y="0"/>
                  </a:cubicBezTo>
                  <a:cubicBezTo>
                    <a:pt x="763" y="0"/>
                    <a:pt x="931" y="54"/>
                    <a:pt x="1053" y="165"/>
                  </a:cubicBezTo>
                  <a:cubicBezTo>
                    <a:pt x="974" y="176"/>
                    <a:pt x="899" y="205"/>
                    <a:pt x="837" y="249"/>
                  </a:cubicBezTo>
                  <a:cubicBezTo>
                    <a:pt x="754" y="308"/>
                    <a:pt x="694" y="394"/>
                    <a:pt x="677" y="503"/>
                  </a:cubicBezTo>
                  <a:cubicBezTo>
                    <a:pt x="673" y="527"/>
                    <a:pt x="671" y="555"/>
                    <a:pt x="672" y="579"/>
                  </a:cubicBezTo>
                  <a:cubicBezTo>
                    <a:pt x="684" y="767"/>
                    <a:pt x="684" y="767"/>
                    <a:pt x="684" y="767"/>
                  </a:cubicBezTo>
                  <a:cubicBezTo>
                    <a:pt x="674" y="819"/>
                    <a:pt x="679" y="875"/>
                    <a:pt x="698" y="924"/>
                  </a:cubicBezTo>
                  <a:cubicBezTo>
                    <a:pt x="701" y="933"/>
                    <a:pt x="705" y="942"/>
                    <a:pt x="710" y="950"/>
                  </a:cubicBezTo>
                  <a:cubicBezTo>
                    <a:pt x="674" y="956"/>
                    <a:pt x="637" y="959"/>
                    <a:pt x="600" y="959"/>
                  </a:cubicBezTo>
                  <a:cubicBezTo>
                    <a:pt x="534" y="959"/>
                    <a:pt x="499" y="970"/>
                    <a:pt x="484" y="989"/>
                  </a:cubicBezTo>
                  <a:cubicBezTo>
                    <a:pt x="471" y="1006"/>
                    <a:pt x="473" y="1035"/>
                    <a:pt x="482" y="1071"/>
                  </a:cubicBezTo>
                  <a:cubicBezTo>
                    <a:pt x="499" y="1142"/>
                    <a:pt x="499" y="1142"/>
                    <a:pt x="499" y="1142"/>
                  </a:cubicBezTo>
                  <a:cubicBezTo>
                    <a:pt x="430" y="1118"/>
                    <a:pt x="430" y="1118"/>
                    <a:pt x="430" y="1118"/>
                  </a:cubicBezTo>
                  <a:cubicBezTo>
                    <a:pt x="304" y="1075"/>
                    <a:pt x="199" y="961"/>
                    <a:pt x="188" y="82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41"/>
            <p:cNvSpPr>
              <a:spLocks/>
            </p:cNvSpPr>
            <p:nvPr/>
          </p:nvSpPr>
          <p:spPr bwMode="auto">
            <a:xfrm>
              <a:off x="1746" y="-178"/>
              <a:ext cx="3403" cy="4160"/>
            </a:xfrm>
            <a:custGeom>
              <a:avLst/>
              <a:gdLst>
                <a:gd name="T0" fmla="*/ 285 w 1441"/>
                <a:gd name="T1" fmla="*/ 534 h 1761"/>
                <a:gd name="T2" fmla="*/ 272 w 1441"/>
                <a:gd name="T3" fmla="*/ 336 h 1761"/>
                <a:gd name="T4" fmla="*/ 276 w 1441"/>
                <a:gd name="T5" fmla="*/ 277 h 1761"/>
                <a:gd name="T6" fmla="*/ 404 w 1441"/>
                <a:gd name="T7" fmla="*/ 75 h 1761"/>
                <a:gd name="T8" fmla="*/ 633 w 1441"/>
                <a:gd name="T9" fmla="*/ 2 h 1761"/>
                <a:gd name="T10" fmla="*/ 817 w 1441"/>
                <a:gd name="T11" fmla="*/ 47 h 1761"/>
                <a:gd name="T12" fmla="*/ 911 w 1441"/>
                <a:gd name="T13" fmla="*/ 35 h 1761"/>
                <a:gd name="T14" fmla="*/ 1144 w 1441"/>
                <a:gd name="T15" fmla="*/ 207 h 1761"/>
                <a:gd name="T16" fmla="*/ 1169 w 1441"/>
                <a:gd name="T17" fmla="*/ 333 h 1761"/>
                <a:gd name="T18" fmla="*/ 1156 w 1441"/>
                <a:gd name="T19" fmla="*/ 534 h 1761"/>
                <a:gd name="T20" fmla="*/ 1082 w 1441"/>
                <a:gd name="T21" fmla="*/ 740 h 1761"/>
                <a:gd name="T22" fmla="*/ 965 w 1441"/>
                <a:gd name="T23" fmla="*/ 967 h 1761"/>
                <a:gd name="T24" fmla="*/ 975 w 1441"/>
                <a:gd name="T25" fmla="*/ 1053 h 1761"/>
                <a:gd name="T26" fmla="*/ 1012 w 1441"/>
                <a:gd name="T27" fmla="*/ 1118 h 1761"/>
                <a:gd name="T28" fmla="*/ 1118 w 1441"/>
                <a:gd name="T29" fmla="*/ 1161 h 1761"/>
                <a:gd name="T30" fmla="*/ 1321 w 1441"/>
                <a:gd name="T31" fmla="*/ 1253 h 1761"/>
                <a:gd name="T32" fmla="*/ 1409 w 1441"/>
                <a:gd name="T33" fmla="*/ 1385 h 1761"/>
                <a:gd name="T34" fmla="*/ 1441 w 1441"/>
                <a:gd name="T35" fmla="*/ 1547 h 1761"/>
                <a:gd name="T36" fmla="*/ 1230 w 1441"/>
                <a:gd name="T37" fmla="*/ 1708 h 1761"/>
                <a:gd name="T38" fmla="*/ 720 w 1441"/>
                <a:gd name="T39" fmla="*/ 1761 h 1761"/>
                <a:gd name="T40" fmla="*/ 210 w 1441"/>
                <a:gd name="T41" fmla="*/ 1708 h 1761"/>
                <a:gd name="T42" fmla="*/ 0 w 1441"/>
                <a:gd name="T43" fmla="*/ 1547 h 1761"/>
                <a:gd name="T44" fmla="*/ 32 w 1441"/>
                <a:gd name="T45" fmla="*/ 1385 h 1761"/>
                <a:gd name="T46" fmla="*/ 120 w 1441"/>
                <a:gd name="T47" fmla="*/ 1253 h 1761"/>
                <a:gd name="T48" fmla="*/ 323 w 1441"/>
                <a:gd name="T49" fmla="*/ 1161 h 1761"/>
                <a:gd name="T50" fmla="*/ 428 w 1441"/>
                <a:gd name="T51" fmla="*/ 1118 h 1761"/>
                <a:gd name="T52" fmla="*/ 466 w 1441"/>
                <a:gd name="T53" fmla="*/ 1053 h 1761"/>
                <a:gd name="T54" fmla="*/ 476 w 1441"/>
                <a:gd name="T55" fmla="*/ 967 h 1761"/>
                <a:gd name="T56" fmla="*/ 359 w 1441"/>
                <a:gd name="T57" fmla="*/ 740 h 1761"/>
                <a:gd name="T58" fmla="*/ 285 w 1441"/>
                <a:gd name="T59" fmla="*/ 534 h 1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1" h="1761">
                  <a:moveTo>
                    <a:pt x="285" y="534"/>
                  </a:moveTo>
                  <a:cubicBezTo>
                    <a:pt x="272" y="336"/>
                    <a:pt x="272" y="336"/>
                    <a:pt x="272" y="336"/>
                  </a:cubicBezTo>
                  <a:cubicBezTo>
                    <a:pt x="271" y="318"/>
                    <a:pt x="273" y="295"/>
                    <a:pt x="276" y="277"/>
                  </a:cubicBezTo>
                  <a:cubicBezTo>
                    <a:pt x="290" y="190"/>
                    <a:pt x="338" y="122"/>
                    <a:pt x="404" y="75"/>
                  </a:cubicBezTo>
                  <a:cubicBezTo>
                    <a:pt x="468" y="29"/>
                    <a:pt x="550" y="3"/>
                    <a:pt x="633" y="2"/>
                  </a:cubicBezTo>
                  <a:cubicBezTo>
                    <a:pt x="702" y="0"/>
                    <a:pt x="759" y="11"/>
                    <a:pt x="817" y="47"/>
                  </a:cubicBezTo>
                  <a:cubicBezTo>
                    <a:pt x="848" y="36"/>
                    <a:pt x="880" y="32"/>
                    <a:pt x="911" y="35"/>
                  </a:cubicBezTo>
                  <a:cubicBezTo>
                    <a:pt x="1010" y="45"/>
                    <a:pt x="1101" y="118"/>
                    <a:pt x="1144" y="207"/>
                  </a:cubicBezTo>
                  <a:cubicBezTo>
                    <a:pt x="1163" y="247"/>
                    <a:pt x="1172" y="290"/>
                    <a:pt x="1169" y="333"/>
                  </a:cubicBezTo>
                  <a:cubicBezTo>
                    <a:pt x="1156" y="534"/>
                    <a:pt x="1156" y="534"/>
                    <a:pt x="1156" y="534"/>
                  </a:cubicBezTo>
                  <a:cubicBezTo>
                    <a:pt x="1175" y="610"/>
                    <a:pt x="1149" y="697"/>
                    <a:pt x="1082" y="740"/>
                  </a:cubicBezTo>
                  <a:cubicBezTo>
                    <a:pt x="1059" y="814"/>
                    <a:pt x="1016" y="909"/>
                    <a:pt x="965" y="967"/>
                  </a:cubicBezTo>
                  <a:cubicBezTo>
                    <a:pt x="966" y="994"/>
                    <a:pt x="968" y="1025"/>
                    <a:pt x="975" y="1053"/>
                  </a:cubicBezTo>
                  <a:cubicBezTo>
                    <a:pt x="981" y="1082"/>
                    <a:pt x="993" y="1106"/>
                    <a:pt x="1012" y="1118"/>
                  </a:cubicBezTo>
                  <a:cubicBezTo>
                    <a:pt x="1047" y="1139"/>
                    <a:pt x="1079" y="1150"/>
                    <a:pt x="1118" y="1161"/>
                  </a:cubicBezTo>
                  <a:cubicBezTo>
                    <a:pt x="1181" y="1180"/>
                    <a:pt x="1276" y="1211"/>
                    <a:pt x="1321" y="1253"/>
                  </a:cubicBezTo>
                  <a:cubicBezTo>
                    <a:pt x="1360" y="1290"/>
                    <a:pt x="1389" y="1336"/>
                    <a:pt x="1409" y="1385"/>
                  </a:cubicBezTo>
                  <a:cubicBezTo>
                    <a:pt x="1430" y="1438"/>
                    <a:pt x="1441" y="1494"/>
                    <a:pt x="1441" y="1547"/>
                  </a:cubicBezTo>
                  <a:cubicBezTo>
                    <a:pt x="1441" y="1626"/>
                    <a:pt x="1352" y="1677"/>
                    <a:pt x="1230" y="1708"/>
                  </a:cubicBezTo>
                  <a:cubicBezTo>
                    <a:pt x="1072" y="1748"/>
                    <a:pt x="851" y="1761"/>
                    <a:pt x="720" y="1761"/>
                  </a:cubicBezTo>
                  <a:cubicBezTo>
                    <a:pt x="590" y="1761"/>
                    <a:pt x="368" y="1748"/>
                    <a:pt x="210" y="1708"/>
                  </a:cubicBezTo>
                  <a:cubicBezTo>
                    <a:pt x="88" y="1677"/>
                    <a:pt x="0" y="1626"/>
                    <a:pt x="0" y="1547"/>
                  </a:cubicBezTo>
                  <a:cubicBezTo>
                    <a:pt x="0" y="1494"/>
                    <a:pt x="10" y="1438"/>
                    <a:pt x="32" y="1385"/>
                  </a:cubicBezTo>
                  <a:cubicBezTo>
                    <a:pt x="52" y="1336"/>
                    <a:pt x="81" y="1290"/>
                    <a:pt x="120" y="1253"/>
                  </a:cubicBezTo>
                  <a:cubicBezTo>
                    <a:pt x="164" y="1211"/>
                    <a:pt x="260" y="1180"/>
                    <a:pt x="323" y="1161"/>
                  </a:cubicBezTo>
                  <a:cubicBezTo>
                    <a:pt x="366" y="1149"/>
                    <a:pt x="389" y="1140"/>
                    <a:pt x="428" y="1118"/>
                  </a:cubicBezTo>
                  <a:cubicBezTo>
                    <a:pt x="447" y="1107"/>
                    <a:pt x="458" y="1082"/>
                    <a:pt x="466" y="1053"/>
                  </a:cubicBezTo>
                  <a:cubicBezTo>
                    <a:pt x="473" y="1025"/>
                    <a:pt x="475" y="993"/>
                    <a:pt x="476" y="967"/>
                  </a:cubicBezTo>
                  <a:cubicBezTo>
                    <a:pt x="424" y="909"/>
                    <a:pt x="382" y="814"/>
                    <a:pt x="359" y="740"/>
                  </a:cubicBezTo>
                  <a:cubicBezTo>
                    <a:pt x="292" y="697"/>
                    <a:pt x="266" y="610"/>
                    <a:pt x="285" y="53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8202420" y="4587984"/>
            <a:ext cx="355223" cy="176265"/>
            <a:chOff x="3994502" y="4340098"/>
            <a:chExt cx="564985" cy="281616"/>
          </a:xfrm>
        </p:grpSpPr>
        <p:grpSp>
          <p:nvGrpSpPr>
            <p:cNvPr id="101" name="Group 1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4068526" y="4432566"/>
              <a:ext cx="490961" cy="189148"/>
              <a:chOff x="348" y="659"/>
              <a:chExt cx="4994" cy="1924"/>
            </a:xfrm>
            <a:solidFill>
              <a:schemeClr val="tx1"/>
            </a:solidFill>
          </p:grpSpPr>
          <p:sp>
            <p:nvSpPr>
              <p:cNvPr id="103" name="Oval 13"/>
              <p:cNvSpPr>
                <a:spLocks noChangeArrowheads="1"/>
              </p:cNvSpPr>
              <p:nvPr/>
            </p:nvSpPr>
            <p:spPr bwMode="auto">
              <a:xfrm>
                <a:off x="3920" y="1796"/>
                <a:ext cx="784" cy="7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4" name="Oval 14"/>
              <p:cNvSpPr>
                <a:spLocks noChangeArrowheads="1"/>
              </p:cNvSpPr>
              <p:nvPr/>
            </p:nvSpPr>
            <p:spPr bwMode="auto">
              <a:xfrm>
                <a:off x="993" y="1796"/>
                <a:ext cx="785" cy="784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5" name="Freeform 15"/>
              <p:cNvSpPr>
                <a:spLocks noEditPoints="1"/>
              </p:cNvSpPr>
              <p:nvPr/>
            </p:nvSpPr>
            <p:spPr bwMode="auto">
              <a:xfrm>
                <a:off x="348" y="659"/>
                <a:ext cx="4994" cy="1609"/>
              </a:xfrm>
              <a:custGeom>
                <a:avLst/>
                <a:gdLst>
                  <a:gd name="T0" fmla="*/ 131 w 2114"/>
                  <a:gd name="T1" fmla="*/ 681 h 681"/>
                  <a:gd name="T2" fmla="*/ 220 w 2114"/>
                  <a:gd name="T3" fmla="*/ 681 h 681"/>
                  <a:gd name="T4" fmla="*/ 217 w 2114"/>
                  <a:gd name="T5" fmla="*/ 644 h 681"/>
                  <a:gd name="T6" fmla="*/ 441 w 2114"/>
                  <a:gd name="T7" fmla="*/ 420 h 681"/>
                  <a:gd name="T8" fmla="*/ 665 w 2114"/>
                  <a:gd name="T9" fmla="*/ 644 h 681"/>
                  <a:gd name="T10" fmla="*/ 662 w 2114"/>
                  <a:gd name="T11" fmla="*/ 681 h 681"/>
                  <a:gd name="T12" fmla="*/ 1456 w 2114"/>
                  <a:gd name="T13" fmla="*/ 681 h 681"/>
                  <a:gd name="T14" fmla="*/ 1451 w 2114"/>
                  <a:gd name="T15" fmla="*/ 637 h 681"/>
                  <a:gd name="T16" fmla="*/ 1676 w 2114"/>
                  <a:gd name="T17" fmla="*/ 413 h 681"/>
                  <a:gd name="T18" fmla="*/ 1900 w 2114"/>
                  <a:gd name="T19" fmla="*/ 637 h 681"/>
                  <a:gd name="T20" fmla="*/ 1895 w 2114"/>
                  <a:gd name="T21" fmla="*/ 681 h 681"/>
                  <a:gd name="T22" fmla="*/ 2081 w 2114"/>
                  <a:gd name="T23" fmla="*/ 681 h 681"/>
                  <a:gd name="T24" fmla="*/ 2114 w 2114"/>
                  <a:gd name="T25" fmla="*/ 558 h 681"/>
                  <a:gd name="T26" fmla="*/ 2085 w 2114"/>
                  <a:gd name="T27" fmla="*/ 493 h 681"/>
                  <a:gd name="T28" fmla="*/ 2067 w 2114"/>
                  <a:gd name="T29" fmla="*/ 409 h 681"/>
                  <a:gd name="T30" fmla="*/ 1947 w 2114"/>
                  <a:gd name="T31" fmla="*/ 313 h 681"/>
                  <a:gd name="T32" fmla="*/ 1615 w 2114"/>
                  <a:gd name="T33" fmla="*/ 228 h 681"/>
                  <a:gd name="T34" fmla="*/ 1116 w 2114"/>
                  <a:gd name="T35" fmla="*/ 0 h 681"/>
                  <a:gd name="T36" fmla="*/ 1106 w 2114"/>
                  <a:gd name="T37" fmla="*/ 0 h 681"/>
                  <a:gd name="T38" fmla="*/ 540 w 2114"/>
                  <a:gd name="T39" fmla="*/ 0 h 681"/>
                  <a:gd name="T40" fmla="*/ 461 w 2114"/>
                  <a:gd name="T41" fmla="*/ 25 h 681"/>
                  <a:gd name="T42" fmla="*/ 369 w 2114"/>
                  <a:gd name="T43" fmla="*/ 32 h 681"/>
                  <a:gd name="T44" fmla="*/ 352 w 2114"/>
                  <a:gd name="T45" fmla="*/ 64 h 681"/>
                  <a:gd name="T46" fmla="*/ 219 w 2114"/>
                  <a:gd name="T47" fmla="*/ 153 h 681"/>
                  <a:gd name="T48" fmla="*/ 114 w 2114"/>
                  <a:gd name="T49" fmla="*/ 227 h 681"/>
                  <a:gd name="T50" fmla="*/ 69 w 2114"/>
                  <a:gd name="T51" fmla="*/ 431 h 681"/>
                  <a:gd name="T52" fmla="*/ 39 w 2114"/>
                  <a:gd name="T53" fmla="*/ 443 h 681"/>
                  <a:gd name="T54" fmla="*/ 131 w 2114"/>
                  <a:gd name="T55" fmla="*/ 681 h 681"/>
                  <a:gd name="T56" fmla="*/ 772 w 2114"/>
                  <a:gd name="T57" fmla="*/ 104 h 681"/>
                  <a:gd name="T58" fmla="*/ 801 w 2114"/>
                  <a:gd name="T59" fmla="*/ 83 h 681"/>
                  <a:gd name="T60" fmla="*/ 1152 w 2114"/>
                  <a:gd name="T61" fmla="*/ 83 h 681"/>
                  <a:gd name="T62" fmla="*/ 1204 w 2114"/>
                  <a:gd name="T63" fmla="*/ 96 h 681"/>
                  <a:gd name="T64" fmla="*/ 1421 w 2114"/>
                  <a:gd name="T65" fmla="*/ 223 h 681"/>
                  <a:gd name="T66" fmla="*/ 1414 w 2114"/>
                  <a:gd name="T67" fmla="*/ 236 h 681"/>
                  <a:gd name="T68" fmla="*/ 801 w 2114"/>
                  <a:gd name="T69" fmla="*/ 236 h 681"/>
                  <a:gd name="T70" fmla="*/ 772 w 2114"/>
                  <a:gd name="T71" fmla="*/ 215 h 681"/>
                  <a:gd name="T72" fmla="*/ 772 w 2114"/>
                  <a:gd name="T73" fmla="*/ 104 h 681"/>
                  <a:gd name="T74" fmla="*/ 332 w 2114"/>
                  <a:gd name="T75" fmla="*/ 218 h 681"/>
                  <a:gd name="T76" fmla="*/ 472 w 2114"/>
                  <a:gd name="T77" fmla="*/ 98 h 681"/>
                  <a:gd name="T78" fmla="*/ 522 w 2114"/>
                  <a:gd name="T79" fmla="*/ 82 h 681"/>
                  <a:gd name="T80" fmla="*/ 675 w 2114"/>
                  <a:gd name="T81" fmla="*/ 82 h 681"/>
                  <a:gd name="T82" fmla="*/ 706 w 2114"/>
                  <a:gd name="T83" fmla="*/ 103 h 681"/>
                  <a:gd name="T84" fmla="*/ 706 w 2114"/>
                  <a:gd name="T85" fmla="*/ 214 h 681"/>
                  <a:gd name="T86" fmla="*/ 674 w 2114"/>
                  <a:gd name="T87" fmla="*/ 235 h 681"/>
                  <a:gd name="T88" fmla="*/ 344 w 2114"/>
                  <a:gd name="T89" fmla="*/ 235 h 681"/>
                  <a:gd name="T90" fmla="*/ 332 w 2114"/>
                  <a:gd name="T91" fmla="*/ 218 h 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114" h="681">
                    <a:moveTo>
                      <a:pt x="131" y="681"/>
                    </a:moveTo>
                    <a:cubicBezTo>
                      <a:pt x="220" y="681"/>
                      <a:pt x="220" y="681"/>
                      <a:pt x="220" y="681"/>
                    </a:cubicBezTo>
                    <a:cubicBezTo>
                      <a:pt x="218" y="669"/>
                      <a:pt x="217" y="656"/>
                      <a:pt x="217" y="644"/>
                    </a:cubicBezTo>
                    <a:cubicBezTo>
                      <a:pt x="217" y="520"/>
                      <a:pt x="317" y="420"/>
                      <a:pt x="441" y="420"/>
                    </a:cubicBezTo>
                    <a:cubicBezTo>
                      <a:pt x="564" y="420"/>
                      <a:pt x="665" y="520"/>
                      <a:pt x="665" y="644"/>
                    </a:cubicBezTo>
                    <a:cubicBezTo>
                      <a:pt x="665" y="656"/>
                      <a:pt x="664" y="669"/>
                      <a:pt x="662" y="681"/>
                    </a:cubicBezTo>
                    <a:cubicBezTo>
                      <a:pt x="1456" y="681"/>
                      <a:pt x="1456" y="681"/>
                      <a:pt x="1456" y="681"/>
                    </a:cubicBezTo>
                    <a:cubicBezTo>
                      <a:pt x="1453" y="666"/>
                      <a:pt x="1451" y="652"/>
                      <a:pt x="1451" y="637"/>
                    </a:cubicBezTo>
                    <a:cubicBezTo>
                      <a:pt x="1451" y="513"/>
                      <a:pt x="1552" y="413"/>
                      <a:pt x="1676" y="413"/>
                    </a:cubicBezTo>
                    <a:cubicBezTo>
                      <a:pt x="1799" y="413"/>
                      <a:pt x="1900" y="513"/>
                      <a:pt x="1900" y="637"/>
                    </a:cubicBezTo>
                    <a:cubicBezTo>
                      <a:pt x="1900" y="652"/>
                      <a:pt x="1898" y="666"/>
                      <a:pt x="1895" y="681"/>
                    </a:cubicBezTo>
                    <a:cubicBezTo>
                      <a:pt x="2081" y="681"/>
                      <a:pt x="2081" y="681"/>
                      <a:pt x="2081" y="681"/>
                    </a:cubicBezTo>
                    <a:cubicBezTo>
                      <a:pt x="2102" y="655"/>
                      <a:pt x="2114" y="606"/>
                      <a:pt x="2114" y="558"/>
                    </a:cubicBezTo>
                    <a:cubicBezTo>
                      <a:pt x="2114" y="521"/>
                      <a:pt x="2105" y="504"/>
                      <a:pt x="2085" y="493"/>
                    </a:cubicBezTo>
                    <a:cubicBezTo>
                      <a:pt x="2084" y="468"/>
                      <a:pt x="2077" y="428"/>
                      <a:pt x="2067" y="409"/>
                    </a:cubicBezTo>
                    <a:cubicBezTo>
                      <a:pt x="2048" y="373"/>
                      <a:pt x="2012" y="344"/>
                      <a:pt x="1947" y="313"/>
                    </a:cubicBezTo>
                    <a:cubicBezTo>
                      <a:pt x="1778" y="230"/>
                      <a:pt x="1615" y="228"/>
                      <a:pt x="1615" y="228"/>
                    </a:cubicBezTo>
                    <a:cubicBezTo>
                      <a:pt x="1350" y="65"/>
                      <a:pt x="1116" y="0"/>
                      <a:pt x="1116" y="0"/>
                    </a:cubicBezTo>
                    <a:cubicBezTo>
                      <a:pt x="1113" y="0"/>
                      <a:pt x="1110" y="0"/>
                      <a:pt x="1106" y="0"/>
                    </a:cubicBezTo>
                    <a:cubicBezTo>
                      <a:pt x="540" y="0"/>
                      <a:pt x="540" y="0"/>
                      <a:pt x="540" y="0"/>
                    </a:cubicBezTo>
                    <a:cubicBezTo>
                      <a:pt x="461" y="25"/>
                      <a:pt x="461" y="25"/>
                      <a:pt x="461" y="25"/>
                    </a:cubicBezTo>
                    <a:cubicBezTo>
                      <a:pt x="415" y="29"/>
                      <a:pt x="369" y="32"/>
                      <a:pt x="369" y="32"/>
                    </a:cubicBezTo>
                    <a:cubicBezTo>
                      <a:pt x="345" y="48"/>
                      <a:pt x="352" y="64"/>
                      <a:pt x="352" y="64"/>
                    </a:cubicBezTo>
                    <a:cubicBezTo>
                      <a:pt x="319" y="83"/>
                      <a:pt x="219" y="153"/>
                      <a:pt x="219" y="153"/>
                    </a:cubicBezTo>
                    <a:cubicBezTo>
                      <a:pt x="114" y="227"/>
                      <a:pt x="114" y="227"/>
                      <a:pt x="114" y="227"/>
                    </a:cubicBezTo>
                    <a:cubicBezTo>
                      <a:pt x="64" y="310"/>
                      <a:pt x="69" y="431"/>
                      <a:pt x="69" y="431"/>
                    </a:cubicBezTo>
                    <a:cubicBezTo>
                      <a:pt x="39" y="443"/>
                      <a:pt x="39" y="443"/>
                      <a:pt x="39" y="443"/>
                    </a:cubicBezTo>
                    <a:cubicBezTo>
                      <a:pt x="0" y="590"/>
                      <a:pt x="82" y="661"/>
                      <a:pt x="131" y="681"/>
                    </a:cubicBezTo>
                    <a:close/>
                    <a:moveTo>
                      <a:pt x="772" y="104"/>
                    </a:moveTo>
                    <a:cubicBezTo>
                      <a:pt x="772" y="92"/>
                      <a:pt x="785" y="83"/>
                      <a:pt x="801" y="83"/>
                    </a:cubicBezTo>
                    <a:cubicBezTo>
                      <a:pt x="1152" y="83"/>
                      <a:pt x="1152" y="83"/>
                      <a:pt x="1152" y="83"/>
                    </a:cubicBezTo>
                    <a:cubicBezTo>
                      <a:pt x="1168" y="83"/>
                      <a:pt x="1192" y="89"/>
                      <a:pt x="1204" y="96"/>
                    </a:cubicBezTo>
                    <a:cubicBezTo>
                      <a:pt x="1421" y="223"/>
                      <a:pt x="1421" y="223"/>
                      <a:pt x="1421" y="223"/>
                    </a:cubicBezTo>
                    <a:cubicBezTo>
                      <a:pt x="1433" y="230"/>
                      <a:pt x="1431" y="236"/>
                      <a:pt x="1414" y="236"/>
                    </a:cubicBezTo>
                    <a:cubicBezTo>
                      <a:pt x="801" y="236"/>
                      <a:pt x="801" y="236"/>
                      <a:pt x="801" y="236"/>
                    </a:cubicBezTo>
                    <a:cubicBezTo>
                      <a:pt x="785" y="236"/>
                      <a:pt x="772" y="227"/>
                      <a:pt x="772" y="215"/>
                    </a:cubicBezTo>
                    <a:lnTo>
                      <a:pt x="772" y="104"/>
                    </a:lnTo>
                    <a:close/>
                    <a:moveTo>
                      <a:pt x="332" y="218"/>
                    </a:moveTo>
                    <a:cubicBezTo>
                      <a:pt x="472" y="98"/>
                      <a:pt x="472" y="98"/>
                      <a:pt x="472" y="98"/>
                    </a:cubicBezTo>
                    <a:cubicBezTo>
                      <a:pt x="482" y="89"/>
                      <a:pt x="505" y="82"/>
                      <a:pt x="522" y="82"/>
                    </a:cubicBezTo>
                    <a:cubicBezTo>
                      <a:pt x="675" y="82"/>
                      <a:pt x="675" y="82"/>
                      <a:pt x="675" y="82"/>
                    </a:cubicBezTo>
                    <a:cubicBezTo>
                      <a:pt x="692" y="82"/>
                      <a:pt x="706" y="91"/>
                      <a:pt x="706" y="103"/>
                    </a:cubicBezTo>
                    <a:cubicBezTo>
                      <a:pt x="706" y="214"/>
                      <a:pt x="706" y="214"/>
                      <a:pt x="706" y="214"/>
                    </a:cubicBezTo>
                    <a:cubicBezTo>
                      <a:pt x="706" y="226"/>
                      <a:pt x="692" y="235"/>
                      <a:pt x="674" y="235"/>
                    </a:cubicBezTo>
                    <a:cubicBezTo>
                      <a:pt x="344" y="235"/>
                      <a:pt x="344" y="235"/>
                      <a:pt x="344" y="235"/>
                    </a:cubicBezTo>
                    <a:cubicBezTo>
                      <a:pt x="327" y="235"/>
                      <a:pt x="322" y="228"/>
                      <a:pt x="332" y="2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2" name="Freeform 45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3994502" y="4340098"/>
              <a:ext cx="156902" cy="230972"/>
            </a:xfrm>
            <a:custGeom>
              <a:avLst/>
              <a:gdLst>
                <a:gd name="T0" fmla="*/ 600 w 1440"/>
                <a:gd name="T1" fmla="*/ 240 h 2120"/>
                <a:gd name="T2" fmla="*/ 840 w 1440"/>
                <a:gd name="T3" fmla="*/ 240 h 2120"/>
                <a:gd name="T4" fmla="*/ 880 w 1440"/>
                <a:gd name="T5" fmla="*/ 200 h 2120"/>
                <a:gd name="T6" fmla="*/ 840 w 1440"/>
                <a:gd name="T7" fmla="*/ 160 h 2120"/>
                <a:gd name="T8" fmla="*/ 600 w 1440"/>
                <a:gd name="T9" fmla="*/ 160 h 2120"/>
                <a:gd name="T10" fmla="*/ 560 w 1440"/>
                <a:gd name="T11" fmla="*/ 200 h 2120"/>
                <a:gd name="T12" fmla="*/ 600 w 1440"/>
                <a:gd name="T13" fmla="*/ 240 h 2120"/>
                <a:gd name="T14" fmla="*/ 721 w 1440"/>
                <a:gd name="T15" fmla="*/ 1759 h 2120"/>
                <a:gd name="T16" fmla="*/ 601 w 1440"/>
                <a:gd name="T17" fmla="*/ 1879 h 2120"/>
                <a:gd name="T18" fmla="*/ 721 w 1440"/>
                <a:gd name="T19" fmla="*/ 1999 h 2120"/>
                <a:gd name="T20" fmla="*/ 841 w 1440"/>
                <a:gd name="T21" fmla="*/ 1879 h 2120"/>
                <a:gd name="T22" fmla="*/ 721 w 1440"/>
                <a:gd name="T23" fmla="*/ 1759 h 2120"/>
                <a:gd name="T24" fmla="*/ 200 w 1440"/>
                <a:gd name="T25" fmla="*/ 0 h 2120"/>
                <a:gd name="T26" fmla="*/ 1240 w 1440"/>
                <a:gd name="T27" fmla="*/ 0 h 2120"/>
                <a:gd name="T28" fmla="*/ 1440 w 1440"/>
                <a:gd name="T29" fmla="*/ 200 h 2120"/>
                <a:gd name="T30" fmla="*/ 1440 w 1440"/>
                <a:gd name="T31" fmla="*/ 1920 h 2120"/>
                <a:gd name="T32" fmla="*/ 1240 w 1440"/>
                <a:gd name="T33" fmla="*/ 2120 h 2120"/>
                <a:gd name="T34" fmla="*/ 200 w 1440"/>
                <a:gd name="T35" fmla="*/ 2120 h 2120"/>
                <a:gd name="T36" fmla="*/ 0 w 1440"/>
                <a:gd name="T37" fmla="*/ 1920 h 2120"/>
                <a:gd name="T38" fmla="*/ 0 w 1440"/>
                <a:gd name="T39" fmla="*/ 200 h 2120"/>
                <a:gd name="T40" fmla="*/ 200 w 1440"/>
                <a:gd name="T41" fmla="*/ 0 h 2120"/>
                <a:gd name="T42" fmla="*/ 200 w 1440"/>
                <a:gd name="T43" fmla="*/ 360 h 2120"/>
                <a:gd name="T44" fmla="*/ 200 w 1440"/>
                <a:gd name="T45" fmla="*/ 1680 h 2120"/>
                <a:gd name="T46" fmla="*/ 1240 w 1440"/>
                <a:gd name="T47" fmla="*/ 1680 h 2120"/>
                <a:gd name="T48" fmla="*/ 1240 w 1440"/>
                <a:gd name="T49" fmla="*/ 360 h 2120"/>
                <a:gd name="T50" fmla="*/ 200 w 1440"/>
                <a:gd name="T51" fmla="*/ 360 h 2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0" h="2120">
                  <a:moveTo>
                    <a:pt x="600" y="240"/>
                  </a:moveTo>
                  <a:cubicBezTo>
                    <a:pt x="840" y="240"/>
                    <a:pt x="840" y="240"/>
                    <a:pt x="840" y="240"/>
                  </a:cubicBezTo>
                  <a:cubicBezTo>
                    <a:pt x="862" y="240"/>
                    <a:pt x="880" y="222"/>
                    <a:pt x="880" y="200"/>
                  </a:cubicBezTo>
                  <a:cubicBezTo>
                    <a:pt x="880" y="178"/>
                    <a:pt x="862" y="160"/>
                    <a:pt x="840" y="16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578" y="160"/>
                    <a:pt x="560" y="178"/>
                    <a:pt x="560" y="200"/>
                  </a:cubicBezTo>
                  <a:cubicBezTo>
                    <a:pt x="560" y="222"/>
                    <a:pt x="578" y="240"/>
                    <a:pt x="600" y="240"/>
                  </a:cubicBezTo>
                  <a:close/>
                  <a:moveTo>
                    <a:pt x="721" y="1759"/>
                  </a:moveTo>
                  <a:cubicBezTo>
                    <a:pt x="655" y="1759"/>
                    <a:pt x="601" y="1813"/>
                    <a:pt x="601" y="1879"/>
                  </a:cubicBezTo>
                  <a:cubicBezTo>
                    <a:pt x="601" y="1945"/>
                    <a:pt x="655" y="1999"/>
                    <a:pt x="721" y="1999"/>
                  </a:cubicBezTo>
                  <a:cubicBezTo>
                    <a:pt x="787" y="1999"/>
                    <a:pt x="841" y="1945"/>
                    <a:pt x="841" y="1879"/>
                  </a:cubicBezTo>
                  <a:cubicBezTo>
                    <a:pt x="841" y="1813"/>
                    <a:pt x="787" y="1759"/>
                    <a:pt x="721" y="1759"/>
                  </a:cubicBezTo>
                  <a:close/>
                  <a:moveTo>
                    <a:pt x="200" y="0"/>
                  </a:moveTo>
                  <a:cubicBezTo>
                    <a:pt x="1240" y="0"/>
                    <a:pt x="1240" y="0"/>
                    <a:pt x="1240" y="0"/>
                  </a:cubicBezTo>
                  <a:cubicBezTo>
                    <a:pt x="1350" y="0"/>
                    <a:pt x="1440" y="90"/>
                    <a:pt x="1440" y="200"/>
                  </a:cubicBezTo>
                  <a:cubicBezTo>
                    <a:pt x="1440" y="1920"/>
                    <a:pt x="1440" y="1920"/>
                    <a:pt x="1440" y="1920"/>
                  </a:cubicBezTo>
                  <a:cubicBezTo>
                    <a:pt x="1440" y="2030"/>
                    <a:pt x="1350" y="2120"/>
                    <a:pt x="1240" y="2120"/>
                  </a:cubicBezTo>
                  <a:cubicBezTo>
                    <a:pt x="200" y="2120"/>
                    <a:pt x="200" y="2120"/>
                    <a:pt x="200" y="2120"/>
                  </a:cubicBezTo>
                  <a:cubicBezTo>
                    <a:pt x="90" y="2120"/>
                    <a:pt x="0" y="2030"/>
                    <a:pt x="0" y="192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90"/>
                    <a:pt x="90" y="0"/>
                    <a:pt x="200" y="0"/>
                  </a:cubicBezTo>
                  <a:close/>
                  <a:moveTo>
                    <a:pt x="200" y="360"/>
                  </a:moveTo>
                  <a:cubicBezTo>
                    <a:pt x="200" y="1680"/>
                    <a:pt x="200" y="1680"/>
                    <a:pt x="200" y="1680"/>
                  </a:cubicBezTo>
                  <a:cubicBezTo>
                    <a:pt x="1240" y="1680"/>
                    <a:pt x="1240" y="1680"/>
                    <a:pt x="1240" y="1680"/>
                  </a:cubicBezTo>
                  <a:cubicBezTo>
                    <a:pt x="1240" y="360"/>
                    <a:pt x="1240" y="360"/>
                    <a:pt x="1240" y="360"/>
                  </a:cubicBezTo>
                  <a:lnTo>
                    <a:pt x="200" y="36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sz="1000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7" name="TextBox 106"/>
          <p:cNvSpPr txBox="1"/>
          <p:nvPr/>
        </p:nvSpPr>
        <p:spPr bwMode="gray">
          <a:xfrm>
            <a:off x="7989703" y="5518973"/>
            <a:ext cx="329591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portunistische Overstekers </a:t>
            </a:r>
            <a:r>
              <a:rPr lang="nl-BE" sz="1400" b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zijn</a:t>
            </a:r>
            <a:r>
              <a:rPr lang="nl-BE" sz="1400" b="1" dirty="0">
                <a:solidFill>
                  <a:srgbClr val="264283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zich bewust van de gevaren  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 de buurt </a:t>
            </a:r>
            <a:b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an een overweg</a:t>
            </a:r>
          </a:p>
        </p:txBody>
      </p:sp>
      <p:sp>
        <p:nvSpPr>
          <p:cNvPr id="56" name="TextBox 55"/>
          <p:cNvSpPr txBox="1"/>
          <p:nvPr/>
        </p:nvSpPr>
        <p:spPr bwMode="gray">
          <a:xfrm>
            <a:off x="9134705" y="6398219"/>
            <a:ext cx="14536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gnificant verschillend van de totale steekproef</a:t>
            </a:r>
          </a:p>
        </p:txBody>
      </p:sp>
      <p:sp>
        <p:nvSpPr>
          <p:cNvPr id="57" name="Freeform 56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7701616" y="5480134"/>
            <a:ext cx="322305" cy="224413"/>
          </a:xfrm>
          <a:custGeom>
            <a:avLst/>
            <a:gdLst>
              <a:gd name="T0" fmla="*/ 1034 w 2068"/>
              <a:gd name="T1" fmla="*/ 0 h 1440"/>
              <a:gd name="T2" fmla="*/ 2065 w 2068"/>
              <a:gd name="T3" fmla="*/ 706 h 1440"/>
              <a:gd name="T4" fmla="*/ 2065 w 2068"/>
              <a:gd name="T5" fmla="*/ 734 h 1440"/>
              <a:gd name="T6" fmla="*/ 1034 w 2068"/>
              <a:gd name="T7" fmla="*/ 1440 h 1440"/>
              <a:gd name="T8" fmla="*/ 3 w 2068"/>
              <a:gd name="T9" fmla="*/ 734 h 1440"/>
              <a:gd name="T10" fmla="*/ 3 w 2068"/>
              <a:gd name="T11" fmla="*/ 706 h 1440"/>
              <a:gd name="T12" fmla="*/ 1034 w 2068"/>
              <a:gd name="T13" fmla="*/ 0 h 1440"/>
              <a:gd name="T14" fmla="*/ 1034 w 2068"/>
              <a:gd name="T15" fmla="*/ 160 h 1440"/>
              <a:gd name="T16" fmla="*/ 474 w 2068"/>
              <a:gd name="T17" fmla="*/ 720 h 1440"/>
              <a:gd name="T18" fmla="*/ 1034 w 2068"/>
              <a:gd name="T19" fmla="*/ 1280 h 1440"/>
              <a:gd name="T20" fmla="*/ 1594 w 2068"/>
              <a:gd name="T21" fmla="*/ 720 h 1440"/>
              <a:gd name="T22" fmla="*/ 1034 w 2068"/>
              <a:gd name="T23" fmla="*/ 160 h 1440"/>
              <a:gd name="T24" fmla="*/ 1322 w 2068"/>
              <a:gd name="T25" fmla="*/ 336 h 1440"/>
              <a:gd name="T26" fmla="*/ 686 w 2068"/>
              <a:gd name="T27" fmla="*/ 1051 h 1440"/>
              <a:gd name="T28" fmla="*/ 554 w 2068"/>
              <a:gd name="T29" fmla="*/ 720 h 1440"/>
              <a:gd name="T30" fmla="*/ 1034 w 2068"/>
              <a:gd name="T31" fmla="*/ 240 h 1440"/>
              <a:gd name="T32" fmla="*/ 1322 w 2068"/>
              <a:gd name="T33" fmla="*/ 336 h 1440"/>
              <a:gd name="T34" fmla="*/ 1514 w 2068"/>
              <a:gd name="T35" fmla="*/ 720 h 1440"/>
              <a:gd name="T36" fmla="*/ 1382 w 2068"/>
              <a:gd name="T37" fmla="*/ 389 h 1440"/>
              <a:gd name="T38" fmla="*/ 746 w 2068"/>
              <a:gd name="T39" fmla="*/ 1104 h 1440"/>
              <a:gd name="T40" fmla="*/ 1034 w 2068"/>
              <a:gd name="T41" fmla="*/ 1200 h 1440"/>
              <a:gd name="T42" fmla="*/ 1514 w 2068"/>
              <a:gd name="T43" fmla="*/ 7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68" h="1440">
                <a:moveTo>
                  <a:pt x="1034" y="0"/>
                </a:moveTo>
                <a:cubicBezTo>
                  <a:pt x="1464" y="0"/>
                  <a:pt x="1910" y="303"/>
                  <a:pt x="2065" y="706"/>
                </a:cubicBezTo>
                <a:cubicBezTo>
                  <a:pt x="2068" y="715"/>
                  <a:pt x="2068" y="725"/>
                  <a:pt x="2065" y="734"/>
                </a:cubicBezTo>
                <a:cubicBezTo>
                  <a:pt x="1910" y="1137"/>
                  <a:pt x="1465" y="1440"/>
                  <a:pt x="1034" y="1440"/>
                </a:cubicBezTo>
                <a:cubicBezTo>
                  <a:pt x="603" y="1440"/>
                  <a:pt x="158" y="1137"/>
                  <a:pt x="3" y="734"/>
                </a:cubicBezTo>
                <a:cubicBezTo>
                  <a:pt x="0" y="725"/>
                  <a:pt x="0" y="715"/>
                  <a:pt x="3" y="706"/>
                </a:cubicBezTo>
                <a:cubicBezTo>
                  <a:pt x="158" y="303"/>
                  <a:pt x="604" y="0"/>
                  <a:pt x="1034" y="0"/>
                </a:cubicBezTo>
                <a:close/>
                <a:moveTo>
                  <a:pt x="1034" y="160"/>
                </a:moveTo>
                <a:cubicBezTo>
                  <a:pt x="725" y="160"/>
                  <a:pt x="474" y="411"/>
                  <a:pt x="474" y="720"/>
                </a:cubicBezTo>
                <a:cubicBezTo>
                  <a:pt x="474" y="1029"/>
                  <a:pt x="725" y="1280"/>
                  <a:pt x="1034" y="1280"/>
                </a:cubicBezTo>
                <a:cubicBezTo>
                  <a:pt x="1343" y="1280"/>
                  <a:pt x="1594" y="1029"/>
                  <a:pt x="1594" y="720"/>
                </a:cubicBezTo>
                <a:cubicBezTo>
                  <a:pt x="1594" y="411"/>
                  <a:pt x="1343" y="160"/>
                  <a:pt x="1034" y="160"/>
                </a:cubicBezTo>
                <a:close/>
                <a:moveTo>
                  <a:pt x="1322" y="336"/>
                </a:moveTo>
                <a:cubicBezTo>
                  <a:pt x="686" y="1051"/>
                  <a:pt x="686" y="1051"/>
                  <a:pt x="686" y="1051"/>
                </a:cubicBezTo>
                <a:cubicBezTo>
                  <a:pt x="604" y="965"/>
                  <a:pt x="554" y="848"/>
                  <a:pt x="554" y="720"/>
                </a:cubicBezTo>
                <a:cubicBezTo>
                  <a:pt x="554" y="455"/>
                  <a:pt x="769" y="240"/>
                  <a:pt x="1034" y="240"/>
                </a:cubicBezTo>
                <a:cubicBezTo>
                  <a:pt x="1142" y="240"/>
                  <a:pt x="1242" y="276"/>
                  <a:pt x="1322" y="336"/>
                </a:cubicBezTo>
                <a:close/>
                <a:moveTo>
                  <a:pt x="1514" y="720"/>
                </a:moveTo>
                <a:cubicBezTo>
                  <a:pt x="1514" y="592"/>
                  <a:pt x="1464" y="475"/>
                  <a:pt x="1382" y="389"/>
                </a:cubicBezTo>
                <a:cubicBezTo>
                  <a:pt x="746" y="1104"/>
                  <a:pt x="746" y="1104"/>
                  <a:pt x="746" y="1104"/>
                </a:cubicBezTo>
                <a:cubicBezTo>
                  <a:pt x="826" y="1164"/>
                  <a:pt x="926" y="1200"/>
                  <a:pt x="1034" y="1200"/>
                </a:cubicBezTo>
                <a:cubicBezTo>
                  <a:pt x="1299" y="1200"/>
                  <a:pt x="1514" y="985"/>
                  <a:pt x="1514" y="7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Chevron 58"/>
          <p:cNvSpPr/>
          <p:nvPr/>
        </p:nvSpPr>
        <p:spPr bwMode="gray">
          <a:xfrm>
            <a:off x="6243130" y="3885990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0" name="Chevron 59"/>
          <p:cNvSpPr/>
          <p:nvPr/>
        </p:nvSpPr>
        <p:spPr bwMode="gray">
          <a:xfrm>
            <a:off x="6290731" y="2361802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1" name="Chevron 60"/>
          <p:cNvSpPr/>
          <p:nvPr/>
        </p:nvSpPr>
        <p:spPr bwMode="gray">
          <a:xfrm>
            <a:off x="6252845" y="5422148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 bwMode="gray">
          <a:xfrm>
            <a:off x="7988247" y="3676962"/>
            <a:ext cx="2788941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lijk gedrag dat in de afgelopen </a:t>
            </a:r>
            <a:b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 het vaakst voorkwam</a:t>
            </a:r>
          </a:p>
        </p:txBody>
      </p:sp>
    </p:spTree>
    <p:extLst>
      <p:ext uri="{BB962C8B-B14F-4D97-AF65-F5344CB8AC3E}">
        <p14:creationId xmlns:p14="http://schemas.microsoft.com/office/powerpoint/2010/main" val="295859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052" y="0"/>
            <a:ext cx="12217052" cy="68614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013FC84-0536-1543-84B1-45C63D659B76}"/>
              </a:ext>
            </a:extLst>
          </p:cNvPr>
          <p:cNvSpPr/>
          <p:nvPr/>
        </p:nvSpPr>
        <p:spPr>
          <a:xfrm flipH="1" flipV="1">
            <a:off x="-25052" y="-12526"/>
            <a:ext cx="2293898" cy="6874024"/>
          </a:xfrm>
          <a:custGeom>
            <a:avLst/>
            <a:gdLst>
              <a:gd name="connsiteX0" fmla="*/ 0 w 4455622"/>
              <a:gd name="connsiteY0" fmla="*/ 0 h 2664229"/>
              <a:gd name="connsiteX1" fmla="*/ 4455622 w 4455622"/>
              <a:gd name="connsiteY1" fmla="*/ 0 h 2664229"/>
              <a:gd name="connsiteX2" fmla="*/ 4455622 w 4455622"/>
              <a:gd name="connsiteY2" fmla="*/ 2664229 h 2664229"/>
              <a:gd name="connsiteX3" fmla="*/ 0 w 4455622"/>
              <a:gd name="connsiteY3" fmla="*/ 2664229 h 2664229"/>
              <a:gd name="connsiteX4" fmla="*/ 0 w 4455622"/>
              <a:gd name="connsiteY4" fmla="*/ 0 h 2664229"/>
              <a:gd name="connsiteX0" fmla="*/ 2111432 w 6567054"/>
              <a:gd name="connsiteY0" fmla="*/ 0 h 6870469"/>
              <a:gd name="connsiteX1" fmla="*/ 6567054 w 6567054"/>
              <a:gd name="connsiteY1" fmla="*/ 0 h 6870469"/>
              <a:gd name="connsiteX2" fmla="*/ 6567054 w 6567054"/>
              <a:gd name="connsiteY2" fmla="*/ 2664229 h 6870469"/>
              <a:gd name="connsiteX3" fmla="*/ 0 w 6567054"/>
              <a:gd name="connsiteY3" fmla="*/ 6870469 h 6870469"/>
              <a:gd name="connsiteX4" fmla="*/ 2111432 w 6567054"/>
              <a:gd name="connsiteY4" fmla="*/ 0 h 6870469"/>
              <a:gd name="connsiteX0" fmla="*/ 2111432 w 7356763"/>
              <a:gd name="connsiteY0" fmla="*/ 0 h 6870469"/>
              <a:gd name="connsiteX1" fmla="*/ 6567054 w 7356763"/>
              <a:gd name="connsiteY1" fmla="*/ 0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7306887 w 7356763"/>
              <a:gd name="connsiteY1" fmla="*/ 8313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6991004 w 7356763"/>
              <a:gd name="connsiteY1" fmla="*/ 41564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4"/>
              <a:gd name="connsiteY0" fmla="*/ 0 h 6870469"/>
              <a:gd name="connsiteX1" fmla="*/ 7356764 w 7356764"/>
              <a:gd name="connsiteY1" fmla="*/ 33252 h 6870469"/>
              <a:gd name="connsiteX2" fmla="*/ 7356763 w 7356764"/>
              <a:gd name="connsiteY2" fmla="*/ 6870469 h 6870469"/>
              <a:gd name="connsiteX3" fmla="*/ 0 w 7356764"/>
              <a:gd name="connsiteY3" fmla="*/ 6870469 h 6870469"/>
              <a:gd name="connsiteX4" fmla="*/ 2111432 w 7356764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7356763 w 7365077"/>
              <a:gd name="connsiteY2" fmla="*/ 6870469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4434969 w 7365077"/>
              <a:gd name="connsiteY2" fmla="*/ 6820462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5270787 w 7365077"/>
              <a:gd name="connsiteY2" fmla="*/ 6849037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5270787"/>
              <a:gd name="connsiteY0" fmla="*/ 0 h 6870469"/>
              <a:gd name="connsiteX1" fmla="*/ 4278977 w 5270787"/>
              <a:gd name="connsiteY1" fmla="*/ 273801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70787"/>
              <a:gd name="connsiteY0" fmla="*/ 0 h 6870469"/>
              <a:gd name="connsiteX1" fmla="*/ 5257670 w 5270787"/>
              <a:gd name="connsiteY1" fmla="*/ 16626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57670"/>
              <a:gd name="connsiteY0" fmla="*/ 0 h 6870469"/>
              <a:gd name="connsiteX1" fmla="*/ 5257670 w 5257670"/>
              <a:gd name="connsiteY1" fmla="*/ 16626 h 6870469"/>
              <a:gd name="connsiteX2" fmla="*/ 5192206 w 5257670"/>
              <a:gd name="connsiteY2" fmla="*/ 6677587 h 6870469"/>
              <a:gd name="connsiteX3" fmla="*/ 0 w 5257670"/>
              <a:gd name="connsiteY3" fmla="*/ 6870469 h 6870469"/>
              <a:gd name="connsiteX4" fmla="*/ 2111432 w 5257670"/>
              <a:gd name="connsiteY4" fmla="*/ 0 h 6870469"/>
              <a:gd name="connsiteX0" fmla="*/ 2111432 w 5277931"/>
              <a:gd name="connsiteY0" fmla="*/ 0 h 6877612"/>
              <a:gd name="connsiteX1" fmla="*/ 5257670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143370 w 5277931"/>
              <a:gd name="connsiteY1" fmla="*/ 12378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271957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3357432 w 5277931"/>
              <a:gd name="connsiteY1" fmla="*/ 59489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721638 w 5277931"/>
              <a:gd name="connsiteY1" fmla="*/ 50240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171569 w 5277931"/>
              <a:gd name="connsiteY1" fmla="*/ 873877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1677481 w 2171569"/>
              <a:gd name="connsiteY2" fmla="*/ 6556143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2163256 w 2171569"/>
              <a:gd name="connsiteY2" fmla="*/ 6856180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63256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066338 w 2164425"/>
              <a:gd name="connsiteY2" fmla="*/ 6799423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54829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098790 w 2151783"/>
              <a:gd name="connsiteY0" fmla="*/ 19092 h 6875272"/>
              <a:gd name="connsiteX1" fmla="*/ 2151783 w 2151783"/>
              <a:gd name="connsiteY1" fmla="*/ 0 h 6875272"/>
              <a:gd name="connsiteX2" fmla="*/ 2142187 w 2151783"/>
              <a:gd name="connsiteY2" fmla="*/ 6875272 h 6875272"/>
              <a:gd name="connsiteX3" fmla="*/ 0 w 2151783"/>
              <a:gd name="connsiteY3" fmla="*/ 6838995 h 6875272"/>
              <a:gd name="connsiteX4" fmla="*/ 2098790 w 2151783"/>
              <a:gd name="connsiteY4" fmla="*/ 19092 h 6875272"/>
              <a:gd name="connsiteX0" fmla="*/ 2107218 w 2160211"/>
              <a:gd name="connsiteY0" fmla="*/ 19092 h 6875272"/>
              <a:gd name="connsiteX1" fmla="*/ 2160211 w 2160211"/>
              <a:gd name="connsiteY1" fmla="*/ 0 h 6875272"/>
              <a:gd name="connsiteX2" fmla="*/ 2150615 w 2160211"/>
              <a:gd name="connsiteY2" fmla="*/ 6875272 h 6875272"/>
              <a:gd name="connsiteX3" fmla="*/ 0 w 2160211"/>
              <a:gd name="connsiteY3" fmla="*/ 6872705 h 6875272"/>
              <a:gd name="connsiteX4" fmla="*/ 2107218 w 2160211"/>
              <a:gd name="connsiteY4" fmla="*/ 19092 h 6875272"/>
              <a:gd name="connsiteX0" fmla="*/ 2107218 w 2168638"/>
              <a:gd name="connsiteY0" fmla="*/ 0 h 6856180"/>
              <a:gd name="connsiteX1" fmla="*/ 2168638 w 2168638"/>
              <a:gd name="connsiteY1" fmla="*/ 1978 h 6856180"/>
              <a:gd name="connsiteX2" fmla="*/ 2150615 w 2168638"/>
              <a:gd name="connsiteY2" fmla="*/ 6856180 h 6856180"/>
              <a:gd name="connsiteX3" fmla="*/ 0 w 2168638"/>
              <a:gd name="connsiteY3" fmla="*/ 6853613 h 6856180"/>
              <a:gd name="connsiteX4" fmla="*/ 2107218 w 2168638"/>
              <a:gd name="connsiteY4" fmla="*/ 0 h 6856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8638" h="6856180">
                <a:moveTo>
                  <a:pt x="2107218" y="0"/>
                </a:moveTo>
                <a:lnTo>
                  <a:pt x="2168638" y="1978"/>
                </a:lnTo>
                <a:cubicBezTo>
                  <a:pt x="2168638" y="2281050"/>
                  <a:pt x="2150615" y="4577108"/>
                  <a:pt x="2150615" y="6856180"/>
                </a:cubicBezTo>
                <a:lnTo>
                  <a:pt x="0" y="6853613"/>
                </a:lnTo>
                <a:lnTo>
                  <a:pt x="2107218" y="0"/>
                </a:lnTo>
                <a:close/>
              </a:path>
            </a:pathLst>
          </a:custGeom>
          <a:solidFill>
            <a:schemeClr val="bg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/>
              <a:t>    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42251" y="499721"/>
            <a:ext cx="6228707" cy="887413"/>
          </a:xfrm>
        </p:spPr>
        <p:txBody>
          <a:bodyPr/>
          <a:lstStyle/>
          <a:p>
            <a:r>
              <a:rPr lang="fr-BE" sz="4400" dirty="0">
                <a:solidFill>
                  <a:schemeClr val="tx1"/>
                </a:solidFill>
                <a:latin typeface="Calibri" panose="020F0502020204030204" pitchFamily="34" charset="0"/>
              </a:rPr>
              <a:t>1. </a:t>
            </a:r>
            <a:r>
              <a:rPr lang="fr-BE" sz="4400" dirty="0" err="1">
                <a:solidFill>
                  <a:schemeClr val="tx1"/>
                </a:solidFill>
                <a:latin typeface="Calibri" panose="020F0502020204030204" pitchFamily="34" charset="0"/>
              </a:rPr>
              <a:t>Context</a:t>
            </a:r>
            <a:endParaRPr lang="fr-BE" sz="4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auto">
          <a:xfrm>
            <a:off x="2442251" y="1214152"/>
            <a:ext cx="2429613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62104" y="6453343"/>
            <a:ext cx="590549" cy="252413"/>
          </a:xfrm>
          <a:prstGeom prst="rect">
            <a:avLst/>
          </a:prstGeom>
        </p:spPr>
        <p:txBody>
          <a:bodyPr/>
          <a:lstStyle/>
          <a:p>
            <a:r>
              <a:rPr lang="fr-B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24767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998" y="147213"/>
            <a:ext cx="2054700" cy="2739600"/>
          </a:xfrm>
          <a:prstGeom prst="rect">
            <a:avLst/>
          </a:prstGeom>
        </p:spPr>
      </p:pic>
      <p:sp>
        <p:nvSpPr>
          <p:cNvPr id="62" name="Rounded Rectangle 61"/>
          <p:cNvSpPr/>
          <p:nvPr/>
        </p:nvSpPr>
        <p:spPr bwMode="gray">
          <a:xfrm>
            <a:off x="6966340" y="1671712"/>
            <a:ext cx="4589217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3" name="Rounded Rectangle 62"/>
          <p:cNvSpPr/>
          <p:nvPr/>
        </p:nvSpPr>
        <p:spPr bwMode="gray">
          <a:xfrm>
            <a:off x="919532" y="1671711"/>
            <a:ext cx="5923396" cy="458470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 bwMode="gray">
          <a:xfrm>
            <a:off x="0" y="798025"/>
            <a:ext cx="13395647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A2A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Veilige groep </a:t>
            </a:r>
          </a:p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A2A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Voorbeeld voor de maatschappij</a:t>
            </a:r>
          </a:p>
        </p:txBody>
      </p:sp>
      <p:sp>
        <p:nvSpPr>
          <p:cNvPr id="38" name="TextBox 37"/>
          <p:cNvSpPr txBox="1"/>
          <p:nvPr/>
        </p:nvSpPr>
        <p:spPr bwMode="gray">
          <a:xfrm>
            <a:off x="1280533" y="5630632"/>
            <a:ext cx="497203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mdat ze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iet weten dat dit gedrag gevaarlijk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s</a:t>
            </a:r>
          </a:p>
        </p:txBody>
      </p:sp>
      <p:sp>
        <p:nvSpPr>
          <p:cNvPr id="12" name="Oval 11"/>
          <p:cNvSpPr/>
          <p:nvPr/>
        </p:nvSpPr>
        <p:spPr bwMode="gray">
          <a:xfrm>
            <a:off x="1895529" y="281583"/>
            <a:ext cx="1920000" cy="1920000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44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fontAlgn="auto">
              <a:lnSpc>
                <a:spcPct val="125000"/>
              </a:lnSpc>
              <a:spcBef>
                <a:spcPts val="0"/>
              </a:spcBef>
              <a:spcAft>
                <a:spcPts val="800"/>
              </a:spcAft>
              <a:buClr>
                <a:srgbClr val="264283"/>
              </a:buClr>
            </a:pPr>
            <a: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Risk</a:t>
            </a:r>
            <a:br>
              <a:rPr lang="nl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b="1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avoiders</a:t>
            </a:r>
            <a: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/>
            </a:r>
            <a:br>
              <a:rPr lang="nl-BE" sz="16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45%</a:t>
            </a:r>
            <a:br>
              <a:rPr lang="nl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</a:br>
            <a:endParaRPr lang="nl-BE" sz="2400" b="1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170144" y="-701834"/>
            <a:ext cx="581482" cy="2138026"/>
            <a:chOff x="170144" y="-701834"/>
            <a:chExt cx="581482" cy="2138026"/>
          </a:xfrm>
        </p:grpSpPr>
        <p:sp>
          <p:nvSpPr>
            <p:cNvPr id="41" name="Parallelogram 40"/>
            <p:cNvSpPr/>
            <p:nvPr/>
          </p:nvSpPr>
          <p:spPr bwMode="gray">
            <a:xfrm rot="2685650">
              <a:off x="170144" y="-701834"/>
              <a:ext cx="581482" cy="2138026"/>
            </a:xfrm>
            <a:prstGeom prst="parallelogram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fontAlgn="auto">
                <a:spcBef>
                  <a:spcPts val="300"/>
                </a:spcBef>
                <a:spcAft>
                  <a:spcPts val="0"/>
                </a:spcAft>
                <a:buFont typeface="Courier New" pitchFamily="49" charset="0"/>
                <a:buNone/>
                <a:defRPr/>
              </a:pP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sp>
          <p:nvSpPr>
            <p:cNvPr id="58" name="Freeform 202"/>
            <p:cNvSpPr>
              <a:spLocks noChangeAspect="1"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99529" y="187321"/>
              <a:ext cx="376636" cy="359716"/>
            </a:xfrm>
            <a:custGeom>
              <a:avLst/>
              <a:gdLst>
                <a:gd name="T0" fmla="*/ 199 w 1960"/>
                <a:gd name="T1" fmla="*/ 819 h 1872"/>
                <a:gd name="T2" fmla="*/ 1807 w 1960"/>
                <a:gd name="T3" fmla="*/ 10 h 1872"/>
                <a:gd name="T4" fmla="*/ 1860 w 1960"/>
                <a:gd name="T5" fmla="*/ 28 h 1872"/>
                <a:gd name="T6" fmla="*/ 1950 w 1960"/>
                <a:gd name="T7" fmla="*/ 206 h 1872"/>
                <a:gd name="T8" fmla="*/ 1933 w 1960"/>
                <a:gd name="T9" fmla="*/ 260 h 1872"/>
                <a:gd name="T10" fmla="*/ 325 w 1960"/>
                <a:gd name="T11" fmla="*/ 1069 h 1872"/>
                <a:gd name="T12" fmla="*/ 271 w 1960"/>
                <a:gd name="T13" fmla="*/ 1051 h 1872"/>
                <a:gd name="T14" fmla="*/ 181 w 1960"/>
                <a:gd name="T15" fmla="*/ 872 h 1872"/>
                <a:gd name="T16" fmla="*/ 199 w 1960"/>
                <a:gd name="T17" fmla="*/ 819 h 1872"/>
                <a:gd name="T18" fmla="*/ 1736 w 1960"/>
                <a:gd name="T19" fmla="*/ 135 h 1872"/>
                <a:gd name="T20" fmla="*/ 1682 w 1960"/>
                <a:gd name="T21" fmla="*/ 296 h 1872"/>
                <a:gd name="T22" fmla="*/ 1861 w 1960"/>
                <a:gd name="T23" fmla="*/ 206 h 1872"/>
                <a:gd name="T24" fmla="*/ 1807 w 1960"/>
                <a:gd name="T25" fmla="*/ 99 h 1872"/>
                <a:gd name="T26" fmla="*/ 1736 w 1960"/>
                <a:gd name="T27" fmla="*/ 135 h 1872"/>
                <a:gd name="T28" fmla="*/ 1092 w 1960"/>
                <a:gd name="T29" fmla="*/ 459 h 1872"/>
                <a:gd name="T30" fmla="*/ 1039 w 1960"/>
                <a:gd name="T31" fmla="*/ 620 h 1872"/>
                <a:gd name="T32" fmla="*/ 1361 w 1960"/>
                <a:gd name="T33" fmla="*/ 458 h 1872"/>
                <a:gd name="T34" fmla="*/ 1414 w 1960"/>
                <a:gd name="T35" fmla="*/ 297 h 1872"/>
                <a:gd name="T36" fmla="*/ 1092 w 1960"/>
                <a:gd name="T37" fmla="*/ 459 h 1872"/>
                <a:gd name="T38" fmla="*/ 449 w 1960"/>
                <a:gd name="T39" fmla="*/ 782 h 1872"/>
                <a:gd name="T40" fmla="*/ 396 w 1960"/>
                <a:gd name="T41" fmla="*/ 943 h 1872"/>
                <a:gd name="T42" fmla="*/ 718 w 1960"/>
                <a:gd name="T43" fmla="*/ 782 h 1872"/>
                <a:gd name="T44" fmla="*/ 771 w 1960"/>
                <a:gd name="T45" fmla="*/ 620 h 1872"/>
                <a:gd name="T46" fmla="*/ 449 w 1960"/>
                <a:gd name="T47" fmla="*/ 782 h 1872"/>
                <a:gd name="T48" fmla="*/ 640 w 1960"/>
                <a:gd name="T49" fmla="*/ 1000 h 1872"/>
                <a:gd name="T50" fmla="*/ 640 w 1960"/>
                <a:gd name="T51" fmla="*/ 1792 h 1872"/>
                <a:gd name="T52" fmla="*/ 720 w 1960"/>
                <a:gd name="T53" fmla="*/ 1792 h 1872"/>
                <a:gd name="T54" fmla="*/ 720 w 1960"/>
                <a:gd name="T55" fmla="*/ 1872 h 1872"/>
                <a:gd name="T56" fmla="*/ 0 w 1960"/>
                <a:gd name="T57" fmla="*/ 1872 h 1872"/>
                <a:gd name="T58" fmla="*/ 0 w 1960"/>
                <a:gd name="T59" fmla="*/ 1792 h 1872"/>
                <a:gd name="T60" fmla="*/ 80 w 1960"/>
                <a:gd name="T61" fmla="*/ 1792 h 1872"/>
                <a:gd name="T62" fmla="*/ 80 w 1960"/>
                <a:gd name="T63" fmla="*/ 672 h 1872"/>
                <a:gd name="T64" fmla="*/ 280 w 1960"/>
                <a:gd name="T65" fmla="*/ 472 h 1872"/>
                <a:gd name="T66" fmla="*/ 440 w 1960"/>
                <a:gd name="T67" fmla="*/ 472 h 1872"/>
                <a:gd name="T68" fmla="*/ 581 w 1960"/>
                <a:gd name="T69" fmla="*/ 531 h 1872"/>
                <a:gd name="T70" fmla="*/ 586 w 1960"/>
                <a:gd name="T71" fmla="*/ 535 h 1872"/>
                <a:gd name="T72" fmla="*/ 163 w 1960"/>
                <a:gd name="T73" fmla="*/ 747 h 1872"/>
                <a:gd name="T74" fmla="*/ 110 w 1960"/>
                <a:gd name="T75" fmla="*/ 908 h 1872"/>
                <a:gd name="T76" fmla="*/ 200 w 1960"/>
                <a:gd name="T77" fmla="*/ 1087 h 1872"/>
                <a:gd name="T78" fmla="*/ 361 w 1960"/>
                <a:gd name="T79" fmla="*/ 1140 h 1872"/>
                <a:gd name="T80" fmla="*/ 640 w 1960"/>
                <a:gd name="T81" fmla="*/ 1000 h 1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60" h="1872">
                  <a:moveTo>
                    <a:pt x="199" y="819"/>
                  </a:moveTo>
                  <a:cubicBezTo>
                    <a:pt x="735" y="549"/>
                    <a:pt x="1271" y="280"/>
                    <a:pt x="1807" y="10"/>
                  </a:cubicBezTo>
                  <a:cubicBezTo>
                    <a:pt x="1827" y="0"/>
                    <a:pt x="1851" y="8"/>
                    <a:pt x="1860" y="28"/>
                  </a:cubicBezTo>
                  <a:cubicBezTo>
                    <a:pt x="1950" y="206"/>
                    <a:pt x="1950" y="206"/>
                    <a:pt x="1950" y="206"/>
                  </a:cubicBezTo>
                  <a:cubicBezTo>
                    <a:pt x="1960" y="226"/>
                    <a:pt x="1952" y="250"/>
                    <a:pt x="1933" y="260"/>
                  </a:cubicBezTo>
                  <a:cubicBezTo>
                    <a:pt x="1397" y="530"/>
                    <a:pt x="861" y="799"/>
                    <a:pt x="325" y="1069"/>
                  </a:cubicBezTo>
                  <a:cubicBezTo>
                    <a:pt x="305" y="1079"/>
                    <a:pt x="281" y="1071"/>
                    <a:pt x="271" y="1051"/>
                  </a:cubicBezTo>
                  <a:cubicBezTo>
                    <a:pt x="181" y="872"/>
                    <a:pt x="181" y="872"/>
                    <a:pt x="181" y="872"/>
                  </a:cubicBezTo>
                  <a:cubicBezTo>
                    <a:pt x="171" y="853"/>
                    <a:pt x="179" y="829"/>
                    <a:pt x="199" y="819"/>
                  </a:cubicBezTo>
                  <a:close/>
                  <a:moveTo>
                    <a:pt x="1736" y="135"/>
                  </a:moveTo>
                  <a:cubicBezTo>
                    <a:pt x="1682" y="296"/>
                    <a:pt x="1682" y="296"/>
                    <a:pt x="1682" y="296"/>
                  </a:cubicBezTo>
                  <a:cubicBezTo>
                    <a:pt x="1861" y="206"/>
                    <a:pt x="1861" y="206"/>
                    <a:pt x="1861" y="206"/>
                  </a:cubicBezTo>
                  <a:cubicBezTo>
                    <a:pt x="1807" y="99"/>
                    <a:pt x="1807" y="99"/>
                    <a:pt x="1807" y="99"/>
                  </a:cubicBezTo>
                  <a:lnTo>
                    <a:pt x="1736" y="135"/>
                  </a:lnTo>
                  <a:close/>
                  <a:moveTo>
                    <a:pt x="1092" y="459"/>
                  </a:moveTo>
                  <a:cubicBezTo>
                    <a:pt x="1039" y="620"/>
                    <a:pt x="1039" y="620"/>
                    <a:pt x="1039" y="620"/>
                  </a:cubicBezTo>
                  <a:cubicBezTo>
                    <a:pt x="1361" y="458"/>
                    <a:pt x="1361" y="458"/>
                    <a:pt x="1361" y="458"/>
                  </a:cubicBezTo>
                  <a:cubicBezTo>
                    <a:pt x="1414" y="297"/>
                    <a:pt x="1414" y="297"/>
                    <a:pt x="1414" y="297"/>
                  </a:cubicBezTo>
                  <a:lnTo>
                    <a:pt x="1092" y="459"/>
                  </a:lnTo>
                  <a:close/>
                  <a:moveTo>
                    <a:pt x="449" y="782"/>
                  </a:moveTo>
                  <a:cubicBezTo>
                    <a:pt x="396" y="943"/>
                    <a:pt x="396" y="943"/>
                    <a:pt x="396" y="943"/>
                  </a:cubicBezTo>
                  <a:cubicBezTo>
                    <a:pt x="718" y="782"/>
                    <a:pt x="718" y="782"/>
                    <a:pt x="718" y="782"/>
                  </a:cubicBezTo>
                  <a:cubicBezTo>
                    <a:pt x="771" y="620"/>
                    <a:pt x="771" y="620"/>
                    <a:pt x="771" y="620"/>
                  </a:cubicBezTo>
                  <a:lnTo>
                    <a:pt x="449" y="782"/>
                  </a:lnTo>
                  <a:close/>
                  <a:moveTo>
                    <a:pt x="640" y="1000"/>
                  </a:moveTo>
                  <a:cubicBezTo>
                    <a:pt x="640" y="1792"/>
                    <a:pt x="640" y="1792"/>
                    <a:pt x="640" y="1792"/>
                  </a:cubicBezTo>
                  <a:cubicBezTo>
                    <a:pt x="720" y="1792"/>
                    <a:pt x="720" y="1792"/>
                    <a:pt x="720" y="1792"/>
                  </a:cubicBezTo>
                  <a:cubicBezTo>
                    <a:pt x="720" y="1872"/>
                    <a:pt x="720" y="1872"/>
                    <a:pt x="720" y="1872"/>
                  </a:cubicBezTo>
                  <a:cubicBezTo>
                    <a:pt x="480" y="1872"/>
                    <a:pt x="240" y="1872"/>
                    <a:pt x="0" y="1872"/>
                  </a:cubicBezTo>
                  <a:cubicBezTo>
                    <a:pt x="0" y="1792"/>
                    <a:pt x="0" y="1792"/>
                    <a:pt x="0" y="1792"/>
                  </a:cubicBezTo>
                  <a:cubicBezTo>
                    <a:pt x="80" y="1792"/>
                    <a:pt x="80" y="1792"/>
                    <a:pt x="80" y="1792"/>
                  </a:cubicBezTo>
                  <a:cubicBezTo>
                    <a:pt x="80" y="672"/>
                    <a:pt x="80" y="672"/>
                    <a:pt x="80" y="672"/>
                  </a:cubicBezTo>
                  <a:cubicBezTo>
                    <a:pt x="80" y="562"/>
                    <a:pt x="170" y="472"/>
                    <a:pt x="280" y="472"/>
                  </a:cubicBezTo>
                  <a:cubicBezTo>
                    <a:pt x="440" y="472"/>
                    <a:pt x="440" y="472"/>
                    <a:pt x="440" y="472"/>
                  </a:cubicBezTo>
                  <a:cubicBezTo>
                    <a:pt x="495" y="472"/>
                    <a:pt x="545" y="494"/>
                    <a:pt x="581" y="531"/>
                  </a:cubicBezTo>
                  <a:cubicBezTo>
                    <a:pt x="583" y="532"/>
                    <a:pt x="584" y="534"/>
                    <a:pt x="586" y="535"/>
                  </a:cubicBezTo>
                  <a:cubicBezTo>
                    <a:pt x="163" y="747"/>
                    <a:pt x="163" y="747"/>
                    <a:pt x="163" y="747"/>
                  </a:cubicBezTo>
                  <a:cubicBezTo>
                    <a:pt x="104" y="777"/>
                    <a:pt x="80" y="849"/>
                    <a:pt x="110" y="908"/>
                  </a:cubicBezTo>
                  <a:cubicBezTo>
                    <a:pt x="200" y="1087"/>
                    <a:pt x="200" y="1087"/>
                    <a:pt x="200" y="1087"/>
                  </a:cubicBezTo>
                  <a:cubicBezTo>
                    <a:pt x="229" y="1146"/>
                    <a:pt x="302" y="1170"/>
                    <a:pt x="361" y="1140"/>
                  </a:cubicBezTo>
                  <a:lnTo>
                    <a:pt x="640" y="10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1" name="Rectangle 60"/>
          <p:cNvSpPr/>
          <p:nvPr/>
        </p:nvSpPr>
        <p:spPr bwMode="gray">
          <a:xfrm>
            <a:off x="10871336" y="6533769"/>
            <a:ext cx="255182" cy="1914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4" name="Rectangle 63"/>
          <p:cNvSpPr/>
          <p:nvPr/>
        </p:nvSpPr>
        <p:spPr bwMode="gray">
          <a:xfrm>
            <a:off x="10588347" y="6535109"/>
            <a:ext cx="255182" cy="191449"/>
          </a:xfrm>
          <a:prstGeom prst="rect">
            <a:avLst/>
          </a:prstGeom>
          <a:noFill/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/>
        </p:nvSpPr>
        <p:spPr bwMode="gray">
          <a:xfrm>
            <a:off x="1280533" y="2055882"/>
            <a:ext cx="82804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IE?</a:t>
            </a:r>
          </a:p>
        </p:txBody>
      </p:sp>
      <p:sp>
        <p:nvSpPr>
          <p:cNvPr id="70" name="TextBox 69"/>
          <p:cNvSpPr txBox="1"/>
          <p:nvPr/>
        </p:nvSpPr>
        <p:spPr bwMode="gray">
          <a:xfrm>
            <a:off x="1280533" y="3538990"/>
            <a:ext cx="235152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T DOEN ZE?</a:t>
            </a:r>
          </a:p>
        </p:txBody>
      </p:sp>
      <p:sp>
        <p:nvSpPr>
          <p:cNvPr id="71" name="TextBox 70"/>
          <p:cNvSpPr txBox="1"/>
          <p:nvPr/>
        </p:nvSpPr>
        <p:spPr bwMode="gray">
          <a:xfrm>
            <a:off x="1280533" y="5321998"/>
            <a:ext cx="481458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AROM LOPEN ZE OVER DE SPOREN?</a:t>
            </a:r>
          </a:p>
        </p:txBody>
      </p:sp>
      <p:sp>
        <p:nvSpPr>
          <p:cNvPr id="72" name="TextBox 71"/>
          <p:cNvSpPr txBox="1"/>
          <p:nvPr/>
        </p:nvSpPr>
        <p:spPr bwMode="gray">
          <a:xfrm>
            <a:off x="1280533" y="3902780"/>
            <a:ext cx="430985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42%</a:t>
            </a:r>
            <a:r>
              <a:rPr lang="nl-BE" sz="16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eeft minstens één keer onvoorzichtig gedrag gesteld in de buurt van een overweg</a:t>
            </a:r>
          </a:p>
        </p:txBody>
      </p:sp>
      <p:sp>
        <p:nvSpPr>
          <p:cNvPr id="73" name="TextBox 72"/>
          <p:cNvSpPr txBox="1"/>
          <p:nvPr/>
        </p:nvSpPr>
        <p:spPr bwMode="gray">
          <a:xfrm>
            <a:off x="1280533" y="2396886"/>
            <a:ext cx="497203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en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udere leeftijdscategorie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die vaak met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ensio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is, meer </a:t>
            </a:r>
            <a:r>
              <a:rPr lang="nl-BE" sz="16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nnen</a:t>
            </a:r>
            <a:r>
              <a:rPr lang="nl-BE" sz="16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dan vrouwen</a:t>
            </a:r>
          </a:p>
        </p:txBody>
      </p:sp>
      <p:graphicFrame>
        <p:nvGraphicFramePr>
          <p:cNvPr id="74" name="Chart 73"/>
          <p:cNvGraphicFramePr/>
          <p:nvPr>
            <p:extLst>
              <p:ext uri="{D42A27DB-BD31-4B8C-83A1-F6EECF244321}">
                <p14:modId xmlns:p14="http://schemas.microsoft.com/office/powerpoint/2010/main" val="744742126"/>
              </p:ext>
            </p:extLst>
          </p:nvPr>
        </p:nvGraphicFramePr>
        <p:xfrm>
          <a:off x="9695708" y="2134448"/>
          <a:ext cx="2040459" cy="1556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5" name="Freeform 3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7653754" y="1996183"/>
            <a:ext cx="354052" cy="258657"/>
          </a:xfrm>
          <a:custGeom>
            <a:avLst/>
            <a:gdLst>
              <a:gd name="T0" fmla="*/ 160 w 2080"/>
              <a:gd name="T1" fmla="*/ 0 h 1520"/>
              <a:gd name="T2" fmla="*/ 1920 w 2080"/>
              <a:gd name="T3" fmla="*/ 0 h 1520"/>
              <a:gd name="T4" fmla="*/ 2080 w 2080"/>
              <a:gd name="T5" fmla="*/ 160 h 1520"/>
              <a:gd name="T6" fmla="*/ 2080 w 2080"/>
              <a:gd name="T7" fmla="*/ 1360 h 1520"/>
              <a:gd name="T8" fmla="*/ 1920 w 2080"/>
              <a:gd name="T9" fmla="*/ 1520 h 1520"/>
              <a:gd name="T10" fmla="*/ 160 w 2080"/>
              <a:gd name="T11" fmla="*/ 1520 h 1520"/>
              <a:gd name="T12" fmla="*/ 0 w 2080"/>
              <a:gd name="T13" fmla="*/ 1360 h 1520"/>
              <a:gd name="T14" fmla="*/ 0 w 2080"/>
              <a:gd name="T15" fmla="*/ 160 h 1520"/>
              <a:gd name="T16" fmla="*/ 160 w 2080"/>
              <a:gd name="T17" fmla="*/ 0 h 1520"/>
              <a:gd name="T18" fmla="*/ 1120 w 2080"/>
              <a:gd name="T19" fmla="*/ 320 h 1520"/>
              <a:gd name="T20" fmla="*/ 1120 w 2080"/>
              <a:gd name="T21" fmla="*/ 1360 h 1520"/>
              <a:gd name="T22" fmla="*/ 1920 w 2080"/>
              <a:gd name="T23" fmla="*/ 1360 h 1520"/>
              <a:gd name="T24" fmla="*/ 1920 w 2080"/>
              <a:gd name="T25" fmla="*/ 320 h 1520"/>
              <a:gd name="T26" fmla="*/ 1120 w 2080"/>
              <a:gd name="T27" fmla="*/ 320 h 1520"/>
              <a:gd name="T28" fmla="*/ 1840 w 2080"/>
              <a:gd name="T29" fmla="*/ 400 h 1520"/>
              <a:gd name="T30" fmla="*/ 1840 w 2080"/>
              <a:gd name="T31" fmla="*/ 1200 h 1520"/>
              <a:gd name="T32" fmla="*/ 1816 w 2080"/>
              <a:gd name="T33" fmla="*/ 1170 h 1520"/>
              <a:gd name="T34" fmla="*/ 1750 w 2080"/>
              <a:gd name="T35" fmla="*/ 1136 h 1520"/>
              <a:gd name="T36" fmla="*/ 1660 w 2080"/>
              <a:gd name="T37" fmla="*/ 1102 h 1520"/>
              <a:gd name="T38" fmla="*/ 1625 w 2080"/>
              <a:gd name="T39" fmla="*/ 996 h 1520"/>
              <a:gd name="T40" fmla="*/ 1689 w 2080"/>
              <a:gd name="T41" fmla="*/ 871 h 1520"/>
              <a:gd name="T42" fmla="*/ 1724 w 2080"/>
              <a:gd name="T43" fmla="*/ 779 h 1520"/>
              <a:gd name="T44" fmla="*/ 1731 w 2080"/>
              <a:gd name="T45" fmla="*/ 671 h 1520"/>
              <a:gd name="T46" fmla="*/ 1568 w 2080"/>
              <a:gd name="T47" fmla="*/ 545 h 1520"/>
              <a:gd name="T48" fmla="*/ 1511 w 2080"/>
              <a:gd name="T49" fmla="*/ 521 h 1520"/>
              <a:gd name="T50" fmla="*/ 1309 w 2080"/>
              <a:gd name="T51" fmla="*/ 672 h 1520"/>
              <a:gd name="T52" fmla="*/ 1316 w 2080"/>
              <a:gd name="T53" fmla="*/ 779 h 1520"/>
              <a:gd name="T54" fmla="*/ 1351 w 2080"/>
              <a:gd name="T55" fmla="*/ 871 h 1520"/>
              <a:gd name="T56" fmla="*/ 1415 w 2080"/>
              <a:gd name="T57" fmla="*/ 996 h 1520"/>
              <a:gd name="T58" fmla="*/ 1380 w 2080"/>
              <a:gd name="T59" fmla="*/ 1102 h 1520"/>
              <a:gd name="T60" fmla="*/ 1290 w 2080"/>
              <a:gd name="T61" fmla="*/ 1136 h 1520"/>
              <a:gd name="T62" fmla="*/ 1224 w 2080"/>
              <a:gd name="T63" fmla="*/ 1170 h 1520"/>
              <a:gd name="T64" fmla="*/ 1200 w 2080"/>
              <a:gd name="T65" fmla="*/ 1200 h 1520"/>
              <a:gd name="T66" fmla="*/ 1200 w 2080"/>
              <a:gd name="T67" fmla="*/ 400 h 1520"/>
              <a:gd name="T68" fmla="*/ 1840 w 2080"/>
              <a:gd name="T69" fmla="*/ 400 h 1520"/>
              <a:gd name="T70" fmla="*/ 240 w 2080"/>
              <a:gd name="T71" fmla="*/ 480 h 1520"/>
              <a:gd name="T72" fmla="*/ 240 w 2080"/>
              <a:gd name="T73" fmla="*/ 560 h 1520"/>
              <a:gd name="T74" fmla="*/ 959 w 2080"/>
              <a:gd name="T75" fmla="*/ 560 h 1520"/>
              <a:gd name="T76" fmla="*/ 959 w 2080"/>
              <a:gd name="T77" fmla="*/ 480 h 1520"/>
              <a:gd name="T78" fmla="*/ 240 w 2080"/>
              <a:gd name="T79" fmla="*/ 480 h 1520"/>
              <a:gd name="T80" fmla="*/ 241 w 2080"/>
              <a:gd name="T81" fmla="*/ 719 h 1520"/>
              <a:gd name="T82" fmla="*/ 241 w 2080"/>
              <a:gd name="T83" fmla="*/ 799 h 1520"/>
              <a:gd name="T84" fmla="*/ 960 w 2080"/>
              <a:gd name="T85" fmla="*/ 799 h 1520"/>
              <a:gd name="T86" fmla="*/ 960 w 2080"/>
              <a:gd name="T87" fmla="*/ 719 h 1520"/>
              <a:gd name="T88" fmla="*/ 241 w 2080"/>
              <a:gd name="T89" fmla="*/ 719 h 1520"/>
              <a:gd name="T90" fmla="*/ 241 w 2080"/>
              <a:gd name="T91" fmla="*/ 960 h 1520"/>
              <a:gd name="T92" fmla="*/ 241 w 2080"/>
              <a:gd name="T93" fmla="*/ 1040 h 1520"/>
              <a:gd name="T94" fmla="*/ 720 w 2080"/>
              <a:gd name="T95" fmla="*/ 1040 h 1520"/>
              <a:gd name="T96" fmla="*/ 720 w 2080"/>
              <a:gd name="T97" fmla="*/ 960 h 1520"/>
              <a:gd name="T98" fmla="*/ 241 w 2080"/>
              <a:gd name="T99" fmla="*/ 960 h 1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080" h="1520">
                <a:moveTo>
                  <a:pt x="160" y="0"/>
                </a:moveTo>
                <a:cubicBezTo>
                  <a:pt x="1920" y="0"/>
                  <a:pt x="1920" y="0"/>
                  <a:pt x="1920" y="0"/>
                </a:cubicBezTo>
                <a:cubicBezTo>
                  <a:pt x="2008" y="0"/>
                  <a:pt x="2080" y="72"/>
                  <a:pt x="2080" y="160"/>
                </a:cubicBezTo>
                <a:cubicBezTo>
                  <a:pt x="2080" y="1360"/>
                  <a:pt x="2080" y="1360"/>
                  <a:pt x="2080" y="1360"/>
                </a:cubicBezTo>
                <a:cubicBezTo>
                  <a:pt x="2080" y="1448"/>
                  <a:pt x="2008" y="1520"/>
                  <a:pt x="1920" y="1520"/>
                </a:cubicBezTo>
                <a:cubicBezTo>
                  <a:pt x="160" y="1520"/>
                  <a:pt x="160" y="1520"/>
                  <a:pt x="160" y="1520"/>
                </a:cubicBezTo>
                <a:cubicBezTo>
                  <a:pt x="72" y="1520"/>
                  <a:pt x="0" y="1448"/>
                  <a:pt x="0" y="1360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72"/>
                  <a:pt x="72" y="0"/>
                  <a:pt x="160" y="0"/>
                </a:cubicBezTo>
                <a:close/>
                <a:moveTo>
                  <a:pt x="1120" y="320"/>
                </a:moveTo>
                <a:cubicBezTo>
                  <a:pt x="1120" y="1360"/>
                  <a:pt x="1120" y="1360"/>
                  <a:pt x="1120" y="1360"/>
                </a:cubicBezTo>
                <a:cubicBezTo>
                  <a:pt x="1920" y="1360"/>
                  <a:pt x="1920" y="1360"/>
                  <a:pt x="1920" y="1360"/>
                </a:cubicBezTo>
                <a:cubicBezTo>
                  <a:pt x="1920" y="320"/>
                  <a:pt x="1920" y="320"/>
                  <a:pt x="1920" y="320"/>
                </a:cubicBezTo>
                <a:lnTo>
                  <a:pt x="1120" y="320"/>
                </a:lnTo>
                <a:close/>
                <a:moveTo>
                  <a:pt x="1840" y="400"/>
                </a:moveTo>
                <a:cubicBezTo>
                  <a:pt x="1840" y="1200"/>
                  <a:pt x="1840" y="1200"/>
                  <a:pt x="1840" y="1200"/>
                </a:cubicBezTo>
                <a:cubicBezTo>
                  <a:pt x="1833" y="1189"/>
                  <a:pt x="1825" y="1178"/>
                  <a:pt x="1816" y="1170"/>
                </a:cubicBezTo>
                <a:cubicBezTo>
                  <a:pt x="1799" y="1154"/>
                  <a:pt x="1772" y="1144"/>
                  <a:pt x="1750" y="1136"/>
                </a:cubicBezTo>
                <a:cubicBezTo>
                  <a:pt x="1714" y="1123"/>
                  <a:pt x="1693" y="1122"/>
                  <a:pt x="1660" y="1102"/>
                </a:cubicBezTo>
                <a:cubicBezTo>
                  <a:pt x="1628" y="1083"/>
                  <a:pt x="1626" y="1029"/>
                  <a:pt x="1625" y="996"/>
                </a:cubicBezTo>
                <a:cubicBezTo>
                  <a:pt x="1654" y="968"/>
                  <a:pt x="1679" y="908"/>
                  <a:pt x="1689" y="871"/>
                </a:cubicBezTo>
                <a:cubicBezTo>
                  <a:pt x="1722" y="855"/>
                  <a:pt x="1734" y="813"/>
                  <a:pt x="1724" y="779"/>
                </a:cubicBezTo>
                <a:cubicBezTo>
                  <a:pt x="1731" y="671"/>
                  <a:pt x="1731" y="671"/>
                  <a:pt x="1731" y="671"/>
                </a:cubicBezTo>
                <a:cubicBezTo>
                  <a:pt x="1738" y="594"/>
                  <a:pt x="1645" y="507"/>
                  <a:pt x="1568" y="545"/>
                </a:cubicBezTo>
                <a:cubicBezTo>
                  <a:pt x="1548" y="532"/>
                  <a:pt x="1536" y="525"/>
                  <a:pt x="1511" y="521"/>
                </a:cubicBezTo>
                <a:cubicBezTo>
                  <a:pt x="1413" y="505"/>
                  <a:pt x="1307" y="564"/>
                  <a:pt x="1309" y="672"/>
                </a:cubicBezTo>
                <a:cubicBezTo>
                  <a:pt x="1316" y="779"/>
                  <a:pt x="1316" y="779"/>
                  <a:pt x="1316" y="779"/>
                </a:cubicBezTo>
                <a:cubicBezTo>
                  <a:pt x="1306" y="812"/>
                  <a:pt x="1318" y="855"/>
                  <a:pt x="1351" y="871"/>
                </a:cubicBezTo>
                <a:cubicBezTo>
                  <a:pt x="1361" y="909"/>
                  <a:pt x="1387" y="969"/>
                  <a:pt x="1415" y="996"/>
                </a:cubicBezTo>
                <a:cubicBezTo>
                  <a:pt x="1415" y="1028"/>
                  <a:pt x="1410" y="1084"/>
                  <a:pt x="1380" y="1102"/>
                </a:cubicBezTo>
                <a:cubicBezTo>
                  <a:pt x="1347" y="1122"/>
                  <a:pt x="1326" y="1123"/>
                  <a:pt x="1290" y="1136"/>
                </a:cubicBezTo>
                <a:cubicBezTo>
                  <a:pt x="1268" y="1144"/>
                  <a:pt x="1241" y="1154"/>
                  <a:pt x="1224" y="1170"/>
                </a:cubicBezTo>
                <a:cubicBezTo>
                  <a:pt x="1215" y="1178"/>
                  <a:pt x="1207" y="1189"/>
                  <a:pt x="1200" y="1200"/>
                </a:cubicBezTo>
                <a:cubicBezTo>
                  <a:pt x="1200" y="400"/>
                  <a:pt x="1200" y="400"/>
                  <a:pt x="1200" y="400"/>
                </a:cubicBezTo>
                <a:lnTo>
                  <a:pt x="1840" y="400"/>
                </a:lnTo>
                <a:close/>
                <a:moveTo>
                  <a:pt x="240" y="480"/>
                </a:moveTo>
                <a:cubicBezTo>
                  <a:pt x="240" y="560"/>
                  <a:pt x="240" y="560"/>
                  <a:pt x="240" y="560"/>
                </a:cubicBezTo>
                <a:cubicBezTo>
                  <a:pt x="959" y="560"/>
                  <a:pt x="959" y="560"/>
                  <a:pt x="959" y="560"/>
                </a:cubicBezTo>
                <a:cubicBezTo>
                  <a:pt x="959" y="480"/>
                  <a:pt x="959" y="480"/>
                  <a:pt x="959" y="480"/>
                </a:cubicBezTo>
                <a:lnTo>
                  <a:pt x="240" y="480"/>
                </a:lnTo>
                <a:close/>
                <a:moveTo>
                  <a:pt x="241" y="719"/>
                </a:moveTo>
                <a:cubicBezTo>
                  <a:pt x="241" y="799"/>
                  <a:pt x="241" y="799"/>
                  <a:pt x="241" y="799"/>
                </a:cubicBezTo>
                <a:cubicBezTo>
                  <a:pt x="960" y="799"/>
                  <a:pt x="960" y="799"/>
                  <a:pt x="960" y="799"/>
                </a:cubicBezTo>
                <a:cubicBezTo>
                  <a:pt x="960" y="719"/>
                  <a:pt x="960" y="719"/>
                  <a:pt x="960" y="719"/>
                </a:cubicBezTo>
                <a:lnTo>
                  <a:pt x="241" y="719"/>
                </a:lnTo>
                <a:close/>
                <a:moveTo>
                  <a:pt x="241" y="960"/>
                </a:moveTo>
                <a:cubicBezTo>
                  <a:pt x="241" y="1040"/>
                  <a:pt x="241" y="1040"/>
                  <a:pt x="241" y="1040"/>
                </a:cubicBezTo>
                <a:cubicBezTo>
                  <a:pt x="720" y="1040"/>
                  <a:pt x="720" y="1040"/>
                  <a:pt x="720" y="1040"/>
                </a:cubicBezTo>
                <a:cubicBezTo>
                  <a:pt x="720" y="960"/>
                  <a:pt x="720" y="960"/>
                  <a:pt x="720" y="960"/>
                </a:cubicBezTo>
                <a:lnTo>
                  <a:pt x="241" y="9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sz="1000" noProof="1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 bwMode="gray">
          <a:xfrm>
            <a:off x="8039648" y="1917324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eftijd</a:t>
            </a:r>
          </a:p>
        </p:txBody>
      </p:sp>
      <p:graphicFrame>
        <p:nvGraphicFramePr>
          <p:cNvPr id="77" name="Chart 76"/>
          <p:cNvGraphicFramePr/>
          <p:nvPr>
            <p:extLst/>
          </p:nvPr>
        </p:nvGraphicFramePr>
        <p:xfrm>
          <a:off x="7242100" y="2134448"/>
          <a:ext cx="2424182" cy="1390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8" name="TextBox 77"/>
          <p:cNvSpPr txBox="1"/>
          <p:nvPr/>
        </p:nvSpPr>
        <p:spPr bwMode="gray">
          <a:xfrm>
            <a:off x="9972733" y="1913309"/>
            <a:ext cx="126281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roep</a:t>
            </a:r>
          </a:p>
        </p:txBody>
      </p:sp>
      <p:cxnSp>
        <p:nvCxnSpPr>
          <p:cNvPr id="80" name="Straight Connector 79"/>
          <p:cNvCxnSpPr/>
          <p:nvPr/>
        </p:nvCxnSpPr>
        <p:spPr>
          <a:xfrm flipV="1">
            <a:off x="8895862" y="4050976"/>
            <a:ext cx="900000" cy="0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 bwMode="gray">
          <a:xfrm>
            <a:off x="10371653" y="4181196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6%</a:t>
            </a:r>
          </a:p>
        </p:txBody>
      </p:sp>
      <p:sp>
        <p:nvSpPr>
          <p:cNvPr id="82" name="TextBox 81"/>
          <p:cNvSpPr txBox="1"/>
          <p:nvPr/>
        </p:nvSpPr>
        <p:spPr bwMode="gray">
          <a:xfrm>
            <a:off x="8728250" y="4121109"/>
            <a:ext cx="182513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bruik van smartphone in het verkeer als voetganger</a:t>
            </a:r>
          </a:p>
        </p:txBody>
      </p:sp>
      <p:sp>
        <p:nvSpPr>
          <p:cNvPr id="83" name="TextBox 82"/>
          <p:cNvSpPr txBox="1"/>
          <p:nvPr/>
        </p:nvSpPr>
        <p:spPr bwMode="gray">
          <a:xfrm>
            <a:off x="10395294" y="4583073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3%</a:t>
            </a:r>
          </a:p>
        </p:txBody>
      </p:sp>
      <p:sp>
        <p:nvSpPr>
          <p:cNvPr id="84" name="TextBox 83"/>
          <p:cNvSpPr txBox="1"/>
          <p:nvPr/>
        </p:nvSpPr>
        <p:spPr bwMode="gray">
          <a:xfrm>
            <a:off x="8568985" y="4955916"/>
            <a:ext cx="21436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en overweg gebruiken </a:t>
            </a:r>
            <a:b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nneer het zicht beperkt is</a:t>
            </a:r>
          </a:p>
        </p:txBody>
      </p:sp>
      <p:sp>
        <p:nvSpPr>
          <p:cNvPr id="85" name="TextBox 84"/>
          <p:cNvSpPr txBox="1"/>
          <p:nvPr/>
        </p:nvSpPr>
        <p:spPr bwMode="gray">
          <a:xfrm>
            <a:off x="10408969" y="5050361"/>
            <a:ext cx="115963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2%</a:t>
            </a:r>
          </a:p>
        </p:txBody>
      </p:sp>
      <p:sp>
        <p:nvSpPr>
          <p:cNvPr id="86" name="TextBox 85"/>
          <p:cNvSpPr txBox="1"/>
          <p:nvPr/>
        </p:nvSpPr>
        <p:spPr bwMode="gray">
          <a:xfrm>
            <a:off x="8843154" y="4540719"/>
            <a:ext cx="15953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2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aten terwijl je een overweg oversteekt</a:t>
            </a:r>
          </a:p>
        </p:txBody>
      </p:sp>
      <p:sp>
        <p:nvSpPr>
          <p:cNvPr id="87" name="Freeform 11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668729" y="3664250"/>
            <a:ext cx="292481" cy="340814"/>
          </a:xfrm>
          <a:custGeom>
            <a:avLst/>
            <a:gdLst>
              <a:gd name="T0" fmla="*/ 68 w 1693"/>
              <a:gd name="T1" fmla="*/ 1211 h 1973"/>
              <a:gd name="T2" fmla="*/ 8 w 1693"/>
              <a:gd name="T3" fmla="*/ 900 h 1973"/>
              <a:gd name="T4" fmla="*/ 108 w 1693"/>
              <a:gd name="T5" fmla="*/ 558 h 1973"/>
              <a:gd name="T6" fmla="*/ 340 w 1693"/>
              <a:gd name="T7" fmla="*/ 409 h 1973"/>
              <a:gd name="T8" fmla="*/ 680 w 1693"/>
              <a:gd name="T9" fmla="*/ 705 h 1973"/>
              <a:gd name="T10" fmla="*/ 694 w 1693"/>
              <a:gd name="T11" fmla="*/ 1022 h 1973"/>
              <a:gd name="T12" fmla="*/ 704 w 1693"/>
              <a:gd name="T13" fmla="*/ 1334 h 1973"/>
              <a:gd name="T14" fmla="*/ 711 w 1693"/>
              <a:gd name="T15" fmla="*/ 1369 h 1973"/>
              <a:gd name="T16" fmla="*/ 204 w 1693"/>
              <a:gd name="T17" fmla="*/ 1528 h 1973"/>
              <a:gd name="T18" fmla="*/ 188 w 1693"/>
              <a:gd name="T19" fmla="*/ 1496 h 1973"/>
              <a:gd name="T20" fmla="*/ 68 w 1693"/>
              <a:gd name="T21" fmla="*/ 1211 h 1973"/>
              <a:gd name="T22" fmla="*/ 709 w 1693"/>
              <a:gd name="T23" fmla="*/ 1480 h 1973"/>
              <a:gd name="T24" fmla="*/ 738 w 1693"/>
              <a:gd name="T25" fmla="*/ 1558 h 1973"/>
              <a:gd name="T26" fmla="*/ 610 w 1693"/>
              <a:gd name="T27" fmla="*/ 1929 h 1973"/>
              <a:gd name="T28" fmla="*/ 557 w 1693"/>
              <a:gd name="T29" fmla="*/ 1945 h 1973"/>
              <a:gd name="T30" fmla="*/ 247 w 1693"/>
              <a:gd name="T31" fmla="*/ 1712 h 1973"/>
              <a:gd name="T32" fmla="*/ 230 w 1693"/>
              <a:gd name="T33" fmla="*/ 1636 h 1973"/>
              <a:gd name="T34" fmla="*/ 709 w 1693"/>
              <a:gd name="T35" fmla="*/ 1480 h 1973"/>
              <a:gd name="T36" fmla="*/ 1685 w 1693"/>
              <a:gd name="T37" fmla="*/ 501 h 1973"/>
              <a:gd name="T38" fmla="*/ 1625 w 1693"/>
              <a:gd name="T39" fmla="*/ 813 h 1973"/>
              <a:gd name="T40" fmla="*/ 1504 w 1693"/>
              <a:gd name="T41" fmla="*/ 1098 h 1973"/>
              <a:gd name="T42" fmla="*/ 1489 w 1693"/>
              <a:gd name="T43" fmla="*/ 1129 h 1973"/>
              <a:gd name="T44" fmla="*/ 982 w 1693"/>
              <a:gd name="T45" fmla="*/ 970 h 1973"/>
              <a:gd name="T46" fmla="*/ 989 w 1693"/>
              <a:gd name="T47" fmla="*/ 935 h 1973"/>
              <a:gd name="T48" fmla="*/ 999 w 1693"/>
              <a:gd name="T49" fmla="*/ 624 h 1973"/>
              <a:gd name="T50" fmla="*/ 1013 w 1693"/>
              <a:gd name="T51" fmla="*/ 307 h 1973"/>
              <a:gd name="T52" fmla="*/ 1352 w 1693"/>
              <a:gd name="T53" fmla="*/ 10 h 1973"/>
              <a:gd name="T54" fmla="*/ 1584 w 1693"/>
              <a:gd name="T55" fmla="*/ 159 h 1973"/>
              <a:gd name="T56" fmla="*/ 1685 w 1693"/>
              <a:gd name="T57" fmla="*/ 501 h 1973"/>
              <a:gd name="T58" fmla="*/ 1463 w 1693"/>
              <a:gd name="T59" fmla="*/ 1238 h 1973"/>
              <a:gd name="T60" fmla="*/ 1456 w 1693"/>
              <a:gd name="T61" fmla="*/ 1272 h 1973"/>
              <a:gd name="T62" fmla="*/ 1446 w 1693"/>
              <a:gd name="T63" fmla="*/ 1314 h 1973"/>
              <a:gd name="T64" fmla="*/ 1136 w 1693"/>
              <a:gd name="T65" fmla="*/ 1546 h 1973"/>
              <a:gd name="T66" fmla="*/ 1105 w 1693"/>
              <a:gd name="T67" fmla="*/ 1539 h 1973"/>
              <a:gd name="T68" fmla="*/ 1082 w 1693"/>
              <a:gd name="T69" fmla="*/ 1531 h 1973"/>
              <a:gd name="T70" fmla="*/ 954 w 1693"/>
              <a:gd name="T71" fmla="*/ 1160 h 1973"/>
              <a:gd name="T72" fmla="*/ 970 w 1693"/>
              <a:gd name="T73" fmla="*/ 1117 h 1973"/>
              <a:gd name="T74" fmla="*/ 984 w 1693"/>
              <a:gd name="T75" fmla="*/ 1082 h 1973"/>
              <a:gd name="T76" fmla="*/ 1463 w 1693"/>
              <a:gd name="T77" fmla="*/ 1238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3" h="1973">
                <a:moveTo>
                  <a:pt x="68" y="1211"/>
                </a:moveTo>
                <a:cubicBezTo>
                  <a:pt x="36" y="1116"/>
                  <a:pt x="16" y="1018"/>
                  <a:pt x="8" y="900"/>
                </a:cubicBezTo>
                <a:cubicBezTo>
                  <a:pt x="0" y="783"/>
                  <a:pt x="40" y="653"/>
                  <a:pt x="108" y="558"/>
                </a:cubicBezTo>
                <a:cubicBezTo>
                  <a:pt x="163" y="481"/>
                  <a:pt x="243" y="416"/>
                  <a:pt x="340" y="409"/>
                </a:cubicBezTo>
                <a:cubicBezTo>
                  <a:pt x="504" y="398"/>
                  <a:pt x="640" y="560"/>
                  <a:pt x="680" y="705"/>
                </a:cubicBezTo>
                <a:cubicBezTo>
                  <a:pt x="709" y="810"/>
                  <a:pt x="703" y="915"/>
                  <a:pt x="694" y="1022"/>
                </a:cubicBezTo>
                <a:cubicBezTo>
                  <a:pt x="682" y="1148"/>
                  <a:pt x="678" y="1199"/>
                  <a:pt x="704" y="1334"/>
                </a:cubicBezTo>
                <a:cubicBezTo>
                  <a:pt x="711" y="1369"/>
                  <a:pt x="711" y="1369"/>
                  <a:pt x="711" y="1369"/>
                </a:cubicBezTo>
                <a:cubicBezTo>
                  <a:pt x="542" y="1422"/>
                  <a:pt x="373" y="1474"/>
                  <a:pt x="204" y="1528"/>
                </a:cubicBezTo>
                <a:cubicBezTo>
                  <a:pt x="188" y="1496"/>
                  <a:pt x="188" y="1496"/>
                  <a:pt x="188" y="1496"/>
                </a:cubicBezTo>
                <a:cubicBezTo>
                  <a:pt x="139" y="1396"/>
                  <a:pt x="98" y="1306"/>
                  <a:pt x="68" y="1211"/>
                </a:cubicBezTo>
                <a:close/>
                <a:moveTo>
                  <a:pt x="709" y="1480"/>
                </a:moveTo>
                <a:cubicBezTo>
                  <a:pt x="720" y="1506"/>
                  <a:pt x="730" y="1532"/>
                  <a:pt x="738" y="1558"/>
                </a:cubicBezTo>
                <a:cubicBezTo>
                  <a:pt x="782" y="1701"/>
                  <a:pt x="767" y="1867"/>
                  <a:pt x="610" y="1929"/>
                </a:cubicBezTo>
                <a:cubicBezTo>
                  <a:pt x="593" y="1936"/>
                  <a:pt x="575" y="1941"/>
                  <a:pt x="557" y="1945"/>
                </a:cubicBezTo>
                <a:cubicBezTo>
                  <a:pt x="402" y="1973"/>
                  <a:pt x="288" y="1849"/>
                  <a:pt x="247" y="1712"/>
                </a:cubicBezTo>
                <a:cubicBezTo>
                  <a:pt x="239" y="1687"/>
                  <a:pt x="235" y="1662"/>
                  <a:pt x="230" y="1636"/>
                </a:cubicBezTo>
                <a:lnTo>
                  <a:pt x="709" y="1480"/>
                </a:lnTo>
                <a:close/>
                <a:moveTo>
                  <a:pt x="1685" y="501"/>
                </a:moveTo>
                <a:cubicBezTo>
                  <a:pt x="1677" y="619"/>
                  <a:pt x="1656" y="718"/>
                  <a:pt x="1625" y="813"/>
                </a:cubicBezTo>
                <a:cubicBezTo>
                  <a:pt x="1594" y="908"/>
                  <a:pt x="1553" y="997"/>
                  <a:pt x="1504" y="1098"/>
                </a:cubicBezTo>
                <a:cubicBezTo>
                  <a:pt x="1489" y="1129"/>
                  <a:pt x="1489" y="1129"/>
                  <a:pt x="1489" y="1129"/>
                </a:cubicBezTo>
                <a:cubicBezTo>
                  <a:pt x="982" y="970"/>
                  <a:pt x="982" y="970"/>
                  <a:pt x="982" y="970"/>
                </a:cubicBezTo>
                <a:cubicBezTo>
                  <a:pt x="989" y="935"/>
                  <a:pt x="989" y="935"/>
                  <a:pt x="989" y="935"/>
                </a:cubicBezTo>
                <a:cubicBezTo>
                  <a:pt x="1015" y="801"/>
                  <a:pt x="1011" y="750"/>
                  <a:pt x="999" y="624"/>
                </a:cubicBezTo>
                <a:cubicBezTo>
                  <a:pt x="990" y="517"/>
                  <a:pt x="984" y="412"/>
                  <a:pt x="1013" y="307"/>
                </a:cubicBezTo>
                <a:cubicBezTo>
                  <a:pt x="1053" y="162"/>
                  <a:pt x="1189" y="0"/>
                  <a:pt x="1352" y="10"/>
                </a:cubicBezTo>
                <a:cubicBezTo>
                  <a:pt x="1450" y="17"/>
                  <a:pt x="1530" y="83"/>
                  <a:pt x="1584" y="159"/>
                </a:cubicBezTo>
                <a:cubicBezTo>
                  <a:pt x="1652" y="255"/>
                  <a:pt x="1693" y="385"/>
                  <a:pt x="1685" y="501"/>
                </a:cubicBezTo>
                <a:close/>
                <a:moveTo>
                  <a:pt x="1463" y="1238"/>
                </a:moveTo>
                <a:cubicBezTo>
                  <a:pt x="1456" y="1272"/>
                  <a:pt x="1456" y="1272"/>
                  <a:pt x="1456" y="1272"/>
                </a:cubicBezTo>
                <a:cubicBezTo>
                  <a:pt x="1454" y="1286"/>
                  <a:pt x="1450" y="1300"/>
                  <a:pt x="1446" y="1314"/>
                </a:cubicBezTo>
                <a:cubicBezTo>
                  <a:pt x="1404" y="1451"/>
                  <a:pt x="1291" y="1575"/>
                  <a:pt x="1136" y="1546"/>
                </a:cubicBezTo>
                <a:cubicBezTo>
                  <a:pt x="1126" y="1544"/>
                  <a:pt x="1115" y="1542"/>
                  <a:pt x="1105" y="1539"/>
                </a:cubicBezTo>
                <a:cubicBezTo>
                  <a:pt x="1097" y="1536"/>
                  <a:pt x="1090" y="1534"/>
                  <a:pt x="1082" y="1531"/>
                </a:cubicBezTo>
                <a:cubicBezTo>
                  <a:pt x="895" y="1456"/>
                  <a:pt x="904" y="1323"/>
                  <a:pt x="954" y="1160"/>
                </a:cubicBezTo>
                <a:cubicBezTo>
                  <a:pt x="959" y="1146"/>
                  <a:pt x="964" y="1131"/>
                  <a:pt x="970" y="1117"/>
                </a:cubicBezTo>
                <a:cubicBezTo>
                  <a:pt x="984" y="1082"/>
                  <a:pt x="984" y="1082"/>
                  <a:pt x="984" y="1082"/>
                </a:cubicBezTo>
                <a:lnTo>
                  <a:pt x="1463" y="123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2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264572" y="4166539"/>
            <a:ext cx="227864" cy="227953"/>
            <a:chOff x="331" y="-931"/>
            <a:chExt cx="5102" cy="5104"/>
          </a:xfrm>
          <a:solidFill>
            <a:schemeClr val="tx1"/>
          </a:solidFill>
        </p:grpSpPr>
        <p:sp>
          <p:nvSpPr>
            <p:cNvPr id="89" name="Freeform 23"/>
            <p:cNvSpPr>
              <a:spLocks/>
            </p:cNvSpPr>
            <p:nvPr/>
          </p:nvSpPr>
          <p:spPr bwMode="auto">
            <a:xfrm>
              <a:off x="2585" y="-931"/>
              <a:ext cx="2848" cy="4349"/>
            </a:xfrm>
            <a:custGeom>
              <a:avLst/>
              <a:gdLst>
                <a:gd name="T0" fmla="*/ 19 w 1206"/>
                <a:gd name="T1" fmla="*/ 558 h 1841"/>
                <a:gd name="T2" fmla="*/ 6 w 1206"/>
                <a:gd name="T3" fmla="*/ 348 h 1841"/>
                <a:gd name="T4" fmla="*/ 10 w 1206"/>
                <a:gd name="T5" fmla="*/ 286 h 1841"/>
                <a:gd name="T6" fmla="*/ 141 w 1206"/>
                <a:gd name="T7" fmla="*/ 78 h 1841"/>
                <a:gd name="T8" fmla="*/ 376 w 1206"/>
                <a:gd name="T9" fmla="*/ 2 h 1841"/>
                <a:gd name="T10" fmla="*/ 566 w 1206"/>
                <a:gd name="T11" fmla="*/ 49 h 1841"/>
                <a:gd name="T12" fmla="*/ 661 w 1206"/>
                <a:gd name="T13" fmla="*/ 37 h 1841"/>
                <a:gd name="T14" fmla="*/ 898 w 1206"/>
                <a:gd name="T15" fmla="*/ 212 h 1841"/>
                <a:gd name="T16" fmla="*/ 926 w 1206"/>
                <a:gd name="T17" fmla="*/ 346 h 1841"/>
                <a:gd name="T18" fmla="*/ 912 w 1206"/>
                <a:gd name="T19" fmla="*/ 558 h 1841"/>
                <a:gd name="T20" fmla="*/ 837 w 1206"/>
                <a:gd name="T21" fmla="*/ 772 h 1841"/>
                <a:gd name="T22" fmla="*/ 716 w 1206"/>
                <a:gd name="T23" fmla="*/ 1010 h 1841"/>
                <a:gd name="T24" fmla="*/ 726 w 1206"/>
                <a:gd name="T25" fmla="*/ 1102 h 1841"/>
                <a:gd name="T26" fmla="*/ 766 w 1206"/>
                <a:gd name="T27" fmla="*/ 1170 h 1841"/>
                <a:gd name="T28" fmla="*/ 874 w 1206"/>
                <a:gd name="T29" fmla="*/ 1216 h 1841"/>
                <a:gd name="T30" fmla="*/ 1083 w 1206"/>
                <a:gd name="T31" fmla="*/ 1313 h 1841"/>
                <a:gd name="T32" fmla="*/ 1173 w 1206"/>
                <a:gd name="T33" fmla="*/ 1450 h 1841"/>
                <a:gd name="T34" fmla="*/ 1206 w 1206"/>
                <a:gd name="T35" fmla="*/ 1619 h 1841"/>
                <a:gd name="T36" fmla="*/ 990 w 1206"/>
                <a:gd name="T37" fmla="*/ 1786 h 1841"/>
                <a:gd name="T38" fmla="*/ 466 w 1206"/>
                <a:gd name="T39" fmla="*/ 1841 h 1841"/>
                <a:gd name="T40" fmla="*/ 86 w 1206"/>
                <a:gd name="T41" fmla="*/ 1814 h 1841"/>
                <a:gd name="T42" fmla="*/ 86 w 1206"/>
                <a:gd name="T43" fmla="*/ 1208 h 1841"/>
                <a:gd name="T44" fmla="*/ 205 w 1206"/>
                <a:gd name="T45" fmla="*/ 1102 h 1841"/>
                <a:gd name="T46" fmla="*/ 216 w 1206"/>
                <a:gd name="T47" fmla="*/ 1010 h 1841"/>
                <a:gd name="T48" fmla="*/ 94 w 1206"/>
                <a:gd name="T49" fmla="*/ 772 h 1841"/>
                <a:gd name="T50" fmla="*/ 19 w 1206"/>
                <a:gd name="T51" fmla="*/ 558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6" h="1841">
                  <a:moveTo>
                    <a:pt x="19" y="558"/>
                  </a:moveTo>
                  <a:cubicBezTo>
                    <a:pt x="15" y="490"/>
                    <a:pt x="6" y="415"/>
                    <a:pt x="6" y="348"/>
                  </a:cubicBezTo>
                  <a:cubicBezTo>
                    <a:pt x="5" y="326"/>
                    <a:pt x="6" y="306"/>
                    <a:pt x="10" y="286"/>
                  </a:cubicBezTo>
                  <a:cubicBezTo>
                    <a:pt x="24" y="197"/>
                    <a:pt x="74" y="126"/>
                    <a:pt x="141" y="78"/>
                  </a:cubicBezTo>
                  <a:cubicBezTo>
                    <a:pt x="207" y="30"/>
                    <a:pt x="291" y="3"/>
                    <a:pt x="376" y="2"/>
                  </a:cubicBezTo>
                  <a:cubicBezTo>
                    <a:pt x="447" y="0"/>
                    <a:pt x="505" y="12"/>
                    <a:pt x="566" y="49"/>
                  </a:cubicBezTo>
                  <a:cubicBezTo>
                    <a:pt x="597" y="37"/>
                    <a:pt x="629" y="34"/>
                    <a:pt x="661" y="37"/>
                  </a:cubicBezTo>
                  <a:cubicBezTo>
                    <a:pt x="762" y="46"/>
                    <a:pt x="854" y="122"/>
                    <a:pt x="898" y="212"/>
                  </a:cubicBezTo>
                  <a:cubicBezTo>
                    <a:pt x="919" y="254"/>
                    <a:pt x="930" y="301"/>
                    <a:pt x="926" y="346"/>
                  </a:cubicBezTo>
                  <a:cubicBezTo>
                    <a:pt x="912" y="558"/>
                    <a:pt x="912" y="558"/>
                    <a:pt x="912" y="558"/>
                  </a:cubicBezTo>
                  <a:cubicBezTo>
                    <a:pt x="932" y="636"/>
                    <a:pt x="906" y="727"/>
                    <a:pt x="837" y="772"/>
                  </a:cubicBezTo>
                  <a:cubicBezTo>
                    <a:pt x="814" y="849"/>
                    <a:pt x="770" y="949"/>
                    <a:pt x="716" y="1010"/>
                  </a:cubicBezTo>
                  <a:cubicBezTo>
                    <a:pt x="717" y="1038"/>
                    <a:pt x="719" y="1072"/>
                    <a:pt x="726" y="1102"/>
                  </a:cubicBezTo>
                  <a:cubicBezTo>
                    <a:pt x="733" y="1132"/>
                    <a:pt x="745" y="1159"/>
                    <a:pt x="766" y="1170"/>
                  </a:cubicBezTo>
                  <a:cubicBezTo>
                    <a:pt x="802" y="1194"/>
                    <a:pt x="833" y="1204"/>
                    <a:pt x="874" y="1216"/>
                  </a:cubicBezTo>
                  <a:cubicBezTo>
                    <a:pt x="940" y="1236"/>
                    <a:pt x="1037" y="1268"/>
                    <a:pt x="1083" y="1313"/>
                  </a:cubicBezTo>
                  <a:cubicBezTo>
                    <a:pt x="1122" y="1351"/>
                    <a:pt x="1152" y="1399"/>
                    <a:pt x="1173" y="1450"/>
                  </a:cubicBezTo>
                  <a:cubicBezTo>
                    <a:pt x="1194" y="1505"/>
                    <a:pt x="1206" y="1563"/>
                    <a:pt x="1206" y="1619"/>
                  </a:cubicBezTo>
                  <a:cubicBezTo>
                    <a:pt x="1206" y="1700"/>
                    <a:pt x="1115" y="1753"/>
                    <a:pt x="990" y="1786"/>
                  </a:cubicBezTo>
                  <a:cubicBezTo>
                    <a:pt x="827" y="1828"/>
                    <a:pt x="600" y="1841"/>
                    <a:pt x="466" y="1841"/>
                  </a:cubicBezTo>
                  <a:cubicBezTo>
                    <a:pt x="368" y="1841"/>
                    <a:pt x="221" y="1834"/>
                    <a:pt x="86" y="1814"/>
                  </a:cubicBezTo>
                  <a:cubicBezTo>
                    <a:pt x="86" y="1208"/>
                    <a:pt x="86" y="1208"/>
                    <a:pt x="86" y="1208"/>
                  </a:cubicBezTo>
                  <a:cubicBezTo>
                    <a:pt x="150" y="1187"/>
                    <a:pt x="188" y="1171"/>
                    <a:pt x="205" y="1102"/>
                  </a:cubicBezTo>
                  <a:cubicBezTo>
                    <a:pt x="212" y="1072"/>
                    <a:pt x="215" y="1038"/>
                    <a:pt x="216" y="1010"/>
                  </a:cubicBezTo>
                  <a:cubicBezTo>
                    <a:pt x="162" y="950"/>
                    <a:pt x="118" y="849"/>
                    <a:pt x="94" y="772"/>
                  </a:cubicBezTo>
                  <a:cubicBezTo>
                    <a:pt x="26" y="727"/>
                    <a:pt x="0" y="636"/>
                    <a:pt x="19" y="5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24"/>
            <p:cNvSpPr>
              <a:spLocks noEditPoints="1"/>
            </p:cNvSpPr>
            <p:nvPr/>
          </p:nvSpPr>
          <p:spPr bwMode="auto">
            <a:xfrm>
              <a:off x="331" y="772"/>
              <a:ext cx="2268" cy="3401"/>
            </a:xfrm>
            <a:custGeom>
              <a:avLst/>
              <a:gdLst>
                <a:gd name="T0" fmla="*/ 141 w 960"/>
                <a:gd name="T1" fmla="*/ 0 h 1440"/>
                <a:gd name="T2" fmla="*/ 818 w 960"/>
                <a:gd name="T3" fmla="*/ 0 h 1440"/>
                <a:gd name="T4" fmla="*/ 960 w 960"/>
                <a:gd name="T5" fmla="*/ 142 h 1440"/>
                <a:gd name="T6" fmla="*/ 960 w 960"/>
                <a:gd name="T7" fmla="*/ 1299 h 1440"/>
                <a:gd name="T8" fmla="*/ 818 w 960"/>
                <a:gd name="T9" fmla="*/ 1440 h 1440"/>
                <a:gd name="T10" fmla="*/ 141 w 960"/>
                <a:gd name="T11" fmla="*/ 1440 h 1440"/>
                <a:gd name="T12" fmla="*/ 0 w 960"/>
                <a:gd name="T13" fmla="*/ 1299 h 1440"/>
                <a:gd name="T14" fmla="*/ 0 w 960"/>
                <a:gd name="T15" fmla="*/ 142 h 1440"/>
                <a:gd name="T16" fmla="*/ 141 w 960"/>
                <a:gd name="T17" fmla="*/ 0 h 1440"/>
                <a:gd name="T18" fmla="*/ 400 w 960"/>
                <a:gd name="T19" fmla="*/ 200 h 1440"/>
                <a:gd name="T20" fmla="*/ 560 w 960"/>
                <a:gd name="T21" fmla="*/ 200 h 1440"/>
                <a:gd name="T22" fmla="*/ 600 w 960"/>
                <a:gd name="T23" fmla="*/ 160 h 1440"/>
                <a:gd name="T24" fmla="*/ 560 w 960"/>
                <a:gd name="T25" fmla="*/ 120 h 1440"/>
                <a:gd name="T26" fmla="*/ 400 w 960"/>
                <a:gd name="T27" fmla="*/ 120 h 1440"/>
                <a:gd name="T28" fmla="*/ 360 w 960"/>
                <a:gd name="T29" fmla="*/ 160 h 1440"/>
                <a:gd name="T30" fmla="*/ 400 w 960"/>
                <a:gd name="T31" fmla="*/ 200 h 1440"/>
                <a:gd name="T32" fmla="*/ 480 w 960"/>
                <a:gd name="T33" fmla="*/ 1160 h 1440"/>
                <a:gd name="T34" fmla="*/ 400 w 960"/>
                <a:gd name="T35" fmla="*/ 1240 h 1440"/>
                <a:gd name="T36" fmla="*/ 480 w 960"/>
                <a:gd name="T37" fmla="*/ 1320 h 1440"/>
                <a:gd name="T38" fmla="*/ 560 w 960"/>
                <a:gd name="T39" fmla="*/ 1240 h 1440"/>
                <a:gd name="T40" fmla="*/ 480 w 960"/>
                <a:gd name="T41" fmla="*/ 1160 h 1440"/>
                <a:gd name="T42" fmla="*/ 800 w 960"/>
                <a:gd name="T43" fmla="*/ 240 h 1440"/>
                <a:gd name="T44" fmla="*/ 160 w 960"/>
                <a:gd name="T45" fmla="*/ 240 h 1440"/>
                <a:gd name="T46" fmla="*/ 160 w 960"/>
                <a:gd name="T47" fmla="*/ 1120 h 1440"/>
                <a:gd name="T48" fmla="*/ 800 w 960"/>
                <a:gd name="T49" fmla="*/ 1120 h 1440"/>
                <a:gd name="T50" fmla="*/ 800 w 960"/>
                <a:gd name="T51" fmla="*/ 24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0" h="1440">
                  <a:moveTo>
                    <a:pt x="141" y="0"/>
                  </a:moveTo>
                  <a:cubicBezTo>
                    <a:pt x="818" y="0"/>
                    <a:pt x="818" y="0"/>
                    <a:pt x="818" y="0"/>
                  </a:cubicBezTo>
                  <a:cubicBezTo>
                    <a:pt x="896" y="0"/>
                    <a:pt x="960" y="64"/>
                    <a:pt x="960" y="142"/>
                  </a:cubicBezTo>
                  <a:cubicBezTo>
                    <a:pt x="960" y="1299"/>
                    <a:pt x="960" y="1299"/>
                    <a:pt x="960" y="1299"/>
                  </a:cubicBezTo>
                  <a:cubicBezTo>
                    <a:pt x="960" y="1376"/>
                    <a:pt x="896" y="1440"/>
                    <a:pt x="818" y="1440"/>
                  </a:cubicBezTo>
                  <a:cubicBezTo>
                    <a:pt x="141" y="1440"/>
                    <a:pt x="141" y="1440"/>
                    <a:pt x="141" y="1440"/>
                  </a:cubicBezTo>
                  <a:cubicBezTo>
                    <a:pt x="64" y="1440"/>
                    <a:pt x="0" y="1376"/>
                    <a:pt x="0" y="1299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0" y="64"/>
                    <a:pt x="63" y="0"/>
                    <a:pt x="141" y="0"/>
                  </a:cubicBezTo>
                  <a:close/>
                  <a:moveTo>
                    <a:pt x="400" y="200"/>
                  </a:moveTo>
                  <a:cubicBezTo>
                    <a:pt x="560" y="200"/>
                    <a:pt x="560" y="200"/>
                    <a:pt x="560" y="200"/>
                  </a:cubicBezTo>
                  <a:cubicBezTo>
                    <a:pt x="582" y="200"/>
                    <a:pt x="600" y="182"/>
                    <a:pt x="600" y="160"/>
                  </a:cubicBezTo>
                  <a:cubicBezTo>
                    <a:pt x="600" y="138"/>
                    <a:pt x="582" y="120"/>
                    <a:pt x="560" y="120"/>
                  </a:cubicBezTo>
                  <a:cubicBezTo>
                    <a:pt x="400" y="120"/>
                    <a:pt x="400" y="120"/>
                    <a:pt x="400" y="120"/>
                  </a:cubicBezTo>
                  <a:cubicBezTo>
                    <a:pt x="378" y="120"/>
                    <a:pt x="360" y="138"/>
                    <a:pt x="360" y="160"/>
                  </a:cubicBezTo>
                  <a:cubicBezTo>
                    <a:pt x="360" y="182"/>
                    <a:pt x="378" y="200"/>
                    <a:pt x="400" y="200"/>
                  </a:cubicBezTo>
                  <a:close/>
                  <a:moveTo>
                    <a:pt x="480" y="1160"/>
                  </a:moveTo>
                  <a:cubicBezTo>
                    <a:pt x="436" y="1160"/>
                    <a:pt x="400" y="1196"/>
                    <a:pt x="400" y="1240"/>
                  </a:cubicBezTo>
                  <a:cubicBezTo>
                    <a:pt x="400" y="1284"/>
                    <a:pt x="436" y="1320"/>
                    <a:pt x="480" y="1320"/>
                  </a:cubicBezTo>
                  <a:cubicBezTo>
                    <a:pt x="524" y="1320"/>
                    <a:pt x="560" y="1284"/>
                    <a:pt x="560" y="1240"/>
                  </a:cubicBezTo>
                  <a:cubicBezTo>
                    <a:pt x="560" y="1196"/>
                    <a:pt x="524" y="1160"/>
                    <a:pt x="480" y="1160"/>
                  </a:cubicBezTo>
                  <a:close/>
                  <a:moveTo>
                    <a:pt x="800" y="240"/>
                  </a:moveTo>
                  <a:cubicBezTo>
                    <a:pt x="160" y="240"/>
                    <a:pt x="160" y="240"/>
                    <a:pt x="160" y="240"/>
                  </a:cubicBezTo>
                  <a:cubicBezTo>
                    <a:pt x="160" y="1120"/>
                    <a:pt x="160" y="1120"/>
                    <a:pt x="160" y="1120"/>
                  </a:cubicBezTo>
                  <a:cubicBezTo>
                    <a:pt x="800" y="1120"/>
                    <a:pt x="800" y="1120"/>
                    <a:pt x="800" y="1120"/>
                  </a:cubicBezTo>
                  <a:lnTo>
                    <a:pt x="80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1" name="Group 39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276112" y="4529636"/>
            <a:ext cx="204784" cy="213224"/>
            <a:chOff x="612" y="-742"/>
            <a:chExt cx="4537" cy="4724"/>
          </a:xfrm>
          <a:solidFill>
            <a:schemeClr val="tx1"/>
          </a:solidFill>
        </p:grpSpPr>
        <p:sp>
          <p:nvSpPr>
            <p:cNvPr id="92" name="Freeform 40"/>
            <p:cNvSpPr>
              <a:spLocks/>
            </p:cNvSpPr>
            <p:nvPr/>
          </p:nvSpPr>
          <p:spPr bwMode="auto">
            <a:xfrm>
              <a:off x="612" y="-742"/>
              <a:ext cx="2487" cy="2697"/>
            </a:xfrm>
            <a:custGeom>
              <a:avLst/>
              <a:gdLst>
                <a:gd name="T0" fmla="*/ 188 w 1053"/>
                <a:gd name="T1" fmla="*/ 825 h 1142"/>
                <a:gd name="T2" fmla="*/ 0 w 1053"/>
                <a:gd name="T3" fmla="*/ 478 h 1142"/>
                <a:gd name="T4" fmla="*/ 600 w 1053"/>
                <a:gd name="T5" fmla="*/ 0 h 1142"/>
                <a:gd name="T6" fmla="*/ 1053 w 1053"/>
                <a:gd name="T7" fmla="*/ 165 h 1142"/>
                <a:gd name="T8" fmla="*/ 837 w 1053"/>
                <a:gd name="T9" fmla="*/ 249 h 1142"/>
                <a:gd name="T10" fmla="*/ 677 w 1053"/>
                <a:gd name="T11" fmla="*/ 503 h 1142"/>
                <a:gd name="T12" fmla="*/ 672 w 1053"/>
                <a:gd name="T13" fmla="*/ 579 h 1142"/>
                <a:gd name="T14" fmla="*/ 684 w 1053"/>
                <a:gd name="T15" fmla="*/ 767 h 1142"/>
                <a:gd name="T16" fmla="*/ 698 w 1053"/>
                <a:gd name="T17" fmla="*/ 924 h 1142"/>
                <a:gd name="T18" fmla="*/ 710 w 1053"/>
                <a:gd name="T19" fmla="*/ 950 h 1142"/>
                <a:gd name="T20" fmla="*/ 600 w 1053"/>
                <a:gd name="T21" fmla="*/ 959 h 1142"/>
                <a:gd name="T22" fmla="*/ 484 w 1053"/>
                <a:gd name="T23" fmla="*/ 989 h 1142"/>
                <a:gd name="T24" fmla="*/ 482 w 1053"/>
                <a:gd name="T25" fmla="*/ 1071 h 1142"/>
                <a:gd name="T26" fmla="*/ 499 w 1053"/>
                <a:gd name="T27" fmla="*/ 1142 h 1142"/>
                <a:gd name="T28" fmla="*/ 430 w 1053"/>
                <a:gd name="T29" fmla="*/ 1118 h 1142"/>
                <a:gd name="T30" fmla="*/ 188 w 1053"/>
                <a:gd name="T31" fmla="*/ 825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3" h="1142">
                  <a:moveTo>
                    <a:pt x="188" y="825"/>
                  </a:moveTo>
                  <a:cubicBezTo>
                    <a:pt x="76" y="742"/>
                    <a:pt x="0" y="620"/>
                    <a:pt x="0" y="478"/>
                  </a:cubicBezTo>
                  <a:cubicBezTo>
                    <a:pt x="0" y="171"/>
                    <a:pt x="326" y="0"/>
                    <a:pt x="600" y="0"/>
                  </a:cubicBezTo>
                  <a:cubicBezTo>
                    <a:pt x="763" y="0"/>
                    <a:pt x="931" y="54"/>
                    <a:pt x="1053" y="165"/>
                  </a:cubicBezTo>
                  <a:cubicBezTo>
                    <a:pt x="974" y="176"/>
                    <a:pt x="899" y="205"/>
                    <a:pt x="837" y="249"/>
                  </a:cubicBezTo>
                  <a:cubicBezTo>
                    <a:pt x="754" y="308"/>
                    <a:pt x="694" y="394"/>
                    <a:pt x="677" y="503"/>
                  </a:cubicBezTo>
                  <a:cubicBezTo>
                    <a:pt x="673" y="527"/>
                    <a:pt x="671" y="555"/>
                    <a:pt x="672" y="579"/>
                  </a:cubicBezTo>
                  <a:cubicBezTo>
                    <a:pt x="684" y="767"/>
                    <a:pt x="684" y="767"/>
                    <a:pt x="684" y="767"/>
                  </a:cubicBezTo>
                  <a:cubicBezTo>
                    <a:pt x="674" y="819"/>
                    <a:pt x="679" y="875"/>
                    <a:pt x="698" y="924"/>
                  </a:cubicBezTo>
                  <a:cubicBezTo>
                    <a:pt x="701" y="933"/>
                    <a:pt x="705" y="942"/>
                    <a:pt x="710" y="950"/>
                  </a:cubicBezTo>
                  <a:cubicBezTo>
                    <a:pt x="674" y="956"/>
                    <a:pt x="637" y="959"/>
                    <a:pt x="600" y="959"/>
                  </a:cubicBezTo>
                  <a:cubicBezTo>
                    <a:pt x="534" y="959"/>
                    <a:pt x="499" y="970"/>
                    <a:pt x="484" y="989"/>
                  </a:cubicBezTo>
                  <a:cubicBezTo>
                    <a:pt x="471" y="1006"/>
                    <a:pt x="473" y="1035"/>
                    <a:pt x="482" y="1071"/>
                  </a:cubicBezTo>
                  <a:cubicBezTo>
                    <a:pt x="499" y="1142"/>
                    <a:pt x="499" y="1142"/>
                    <a:pt x="499" y="1142"/>
                  </a:cubicBezTo>
                  <a:cubicBezTo>
                    <a:pt x="430" y="1118"/>
                    <a:pt x="430" y="1118"/>
                    <a:pt x="430" y="1118"/>
                  </a:cubicBezTo>
                  <a:cubicBezTo>
                    <a:pt x="304" y="1075"/>
                    <a:pt x="199" y="961"/>
                    <a:pt x="188" y="825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Freeform 41"/>
            <p:cNvSpPr>
              <a:spLocks/>
            </p:cNvSpPr>
            <p:nvPr/>
          </p:nvSpPr>
          <p:spPr bwMode="auto">
            <a:xfrm>
              <a:off x="1746" y="-178"/>
              <a:ext cx="3403" cy="4160"/>
            </a:xfrm>
            <a:custGeom>
              <a:avLst/>
              <a:gdLst>
                <a:gd name="T0" fmla="*/ 285 w 1441"/>
                <a:gd name="T1" fmla="*/ 534 h 1761"/>
                <a:gd name="T2" fmla="*/ 272 w 1441"/>
                <a:gd name="T3" fmla="*/ 336 h 1761"/>
                <a:gd name="T4" fmla="*/ 276 w 1441"/>
                <a:gd name="T5" fmla="*/ 277 h 1761"/>
                <a:gd name="T6" fmla="*/ 404 w 1441"/>
                <a:gd name="T7" fmla="*/ 75 h 1761"/>
                <a:gd name="T8" fmla="*/ 633 w 1441"/>
                <a:gd name="T9" fmla="*/ 2 h 1761"/>
                <a:gd name="T10" fmla="*/ 817 w 1441"/>
                <a:gd name="T11" fmla="*/ 47 h 1761"/>
                <a:gd name="T12" fmla="*/ 911 w 1441"/>
                <a:gd name="T13" fmla="*/ 35 h 1761"/>
                <a:gd name="T14" fmla="*/ 1144 w 1441"/>
                <a:gd name="T15" fmla="*/ 207 h 1761"/>
                <a:gd name="T16" fmla="*/ 1169 w 1441"/>
                <a:gd name="T17" fmla="*/ 333 h 1761"/>
                <a:gd name="T18" fmla="*/ 1156 w 1441"/>
                <a:gd name="T19" fmla="*/ 534 h 1761"/>
                <a:gd name="T20" fmla="*/ 1082 w 1441"/>
                <a:gd name="T21" fmla="*/ 740 h 1761"/>
                <a:gd name="T22" fmla="*/ 965 w 1441"/>
                <a:gd name="T23" fmla="*/ 967 h 1761"/>
                <a:gd name="T24" fmla="*/ 975 w 1441"/>
                <a:gd name="T25" fmla="*/ 1053 h 1761"/>
                <a:gd name="T26" fmla="*/ 1012 w 1441"/>
                <a:gd name="T27" fmla="*/ 1118 h 1761"/>
                <a:gd name="T28" fmla="*/ 1118 w 1441"/>
                <a:gd name="T29" fmla="*/ 1161 h 1761"/>
                <a:gd name="T30" fmla="*/ 1321 w 1441"/>
                <a:gd name="T31" fmla="*/ 1253 h 1761"/>
                <a:gd name="T32" fmla="*/ 1409 w 1441"/>
                <a:gd name="T33" fmla="*/ 1385 h 1761"/>
                <a:gd name="T34" fmla="*/ 1441 w 1441"/>
                <a:gd name="T35" fmla="*/ 1547 h 1761"/>
                <a:gd name="T36" fmla="*/ 1230 w 1441"/>
                <a:gd name="T37" fmla="*/ 1708 h 1761"/>
                <a:gd name="T38" fmla="*/ 720 w 1441"/>
                <a:gd name="T39" fmla="*/ 1761 h 1761"/>
                <a:gd name="T40" fmla="*/ 210 w 1441"/>
                <a:gd name="T41" fmla="*/ 1708 h 1761"/>
                <a:gd name="T42" fmla="*/ 0 w 1441"/>
                <a:gd name="T43" fmla="*/ 1547 h 1761"/>
                <a:gd name="T44" fmla="*/ 32 w 1441"/>
                <a:gd name="T45" fmla="*/ 1385 h 1761"/>
                <a:gd name="T46" fmla="*/ 120 w 1441"/>
                <a:gd name="T47" fmla="*/ 1253 h 1761"/>
                <a:gd name="T48" fmla="*/ 323 w 1441"/>
                <a:gd name="T49" fmla="*/ 1161 h 1761"/>
                <a:gd name="T50" fmla="*/ 428 w 1441"/>
                <a:gd name="T51" fmla="*/ 1118 h 1761"/>
                <a:gd name="T52" fmla="*/ 466 w 1441"/>
                <a:gd name="T53" fmla="*/ 1053 h 1761"/>
                <a:gd name="T54" fmla="*/ 476 w 1441"/>
                <a:gd name="T55" fmla="*/ 967 h 1761"/>
                <a:gd name="T56" fmla="*/ 359 w 1441"/>
                <a:gd name="T57" fmla="*/ 740 h 1761"/>
                <a:gd name="T58" fmla="*/ 285 w 1441"/>
                <a:gd name="T59" fmla="*/ 534 h 1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1" h="1761">
                  <a:moveTo>
                    <a:pt x="285" y="534"/>
                  </a:moveTo>
                  <a:cubicBezTo>
                    <a:pt x="272" y="336"/>
                    <a:pt x="272" y="336"/>
                    <a:pt x="272" y="336"/>
                  </a:cubicBezTo>
                  <a:cubicBezTo>
                    <a:pt x="271" y="318"/>
                    <a:pt x="273" y="295"/>
                    <a:pt x="276" y="277"/>
                  </a:cubicBezTo>
                  <a:cubicBezTo>
                    <a:pt x="290" y="190"/>
                    <a:pt x="338" y="122"/>
                    <a:pt x="404" y="75"/>
                  </a:cubicBezTo>
                  <a:cubicBezTo>
                    <a:pt x="468" y="29"/>
                    <a:pt x="550" y="3"/>
                    <a:pt x="633" y="2"/>
                  </a:cubicBezTo>
                  <a:cubicBezTo>
                    <a:pt x="702" y="0"/>
                    <a:pt x="759" y="11"/>
                    <a:pt x="817" y="47"/>
                  </a:cubicBezTo>
                  <a:cubicBezTo>
                    <a:pt x="848" y="36"/>
                    <a:pt x="880" y="32"/>
                    <a:pt x="911" y="35"/>
                  </a:cubicBezTo>
                  <a:cubicBezTo>
                    <a:pt x="1010" y="45"/>
                    <a:pt x="1101" y="118"/>
                    <a:pt x="1144" y="207"/>
                  </a:cubicBezTo>
                  <a:cubicBezTo>
                    <a:pt x="1163" y="247"/>
                    <a:pt x="1172" y="290"/>
                    <a:pt x="1169" y="333"/>
                  </a:cubicBezTo>
                  <a:cubicBezTo>
                    <a:pt x="1156" y="534"/>
                    <a:pt x="1156" y="534"/>
                    <a:pt x="1156" y="534"/>
                  </a:cubicBezTo>
                  <a:cubicBezTo>
                    <a:pt x="1175" y="610"/>
                    <a:pt x="1149" y="697"/>
                    <a:pt x="1082" y="740"/>
                  </a:cubicBezTo>
                  <a:cubicBezTo>
                    <a:pt x="1059" y="814"/>
                    <a:pt x="1016" y="909"/>
                    <a:pt x="965" y="967"/>
                  </a:cubicBezTo>
                  <a:cubicBezTo>
                    <a:pt x="966" y="994"/>
                    <a:pt x="968" y="1025"/>
                    <a:pt x="975" y="1053"/>
                  </a:cubicBezTo>
                  <a:cubicBezTo>
                    <a:pt x="981" y="1082"/>
                    <a:pt x="993" y="1106"/>
                    <a:pt x="1012" y="1118"/>
                  </a:cubicBezTo>
                  <a:cubicBezTo>
                    <a:pt x="1047" y="1139"/>
                    <a:pt x="1079" y="1150"/>
                    <a:pt x="1118" y="1161"/>
                  </a:cubicBezTo>
                  <a:cubicBezTo>
                    <a:pt x="1181" y="1180"/>
                    <a:pt x="1276" y="1211"/>
                    <a:pt x="1321" y="1253"/>
                  </a:cubicBezTo>
                  <a:cubicBezTo>
                    <a:pt x="1360" y="1290"/>
                    <a:pt x="1389" y="1336"/>
                    <a:pt x="1409" y="1385"/>
                  </a:cubicBezTo>
                  <a:cubicBezTo>
                    <a:pt x="1430" y="1438"/>
                    <a:pt x="1441" y="1494"/>
                    <a:pt x="1441" y="1547"/>
                  </a:cubicBezTo>
                  <a:cubicBezTo>
                    <a:pt x="1441" y="1626"/>
                    <a:pt x="1352" y="1677"/>
                    <a:pt x="1230" y="1708"/>
                  </a:cubicBezTo>
                  <a:cubicBezTo>
                    <a:pt x="1072" y="1748"/>
                    <a:pt x="851" y="1761"/>
                    <a:pt x="720" y="1761"/>
                  </a:cubicBezTo>
                  <a:cubicBezTo>
                    <a:pt x="590" y="1761"/>
                    <a:pt x="368" y="1748"/>
                    <a:pt x="210" y="1708"/>
                  </a:cubicBezTo>
                  <a:cubicBezTo>
                    <a:pt x="88" y="1677"/>
                    <a:pt x="0" y="1626"/>
                    <a:pt x="0" y="1547"/>
                  </a:cubicBezTo>
                  <a:cubicBezTo>
                    <a:pt x="0" y="1494"/>
                    <a:pt x="10" y="1438"/>
                    <a:pt x="32" y="1385"/>
                  </a:cubicBezTo>
                  <a:cubicBezTo>
                    <a:pt x="52" y="1336"/>
                    <a:pt x="81" y="1290"/>
                    <a:pt x="120" y="1253"/>
                  </a:cubicBezTo>
                  <a:cubicBezTo>
                    <a:pt x="164" y="1211"/>
                    <a:pt x="260" y="1180"/>
                    <a:pt x="323" y="1161"/>
                  </a:cubicBezTo>
                  <a:cubicBezTo>
                    <a:pt x="366" y="1149"/>
                    <a:pt x="389" y="1140"/>
                    <a:pt x="428" y="1118"/>
                  </a:cubicBezTo>
                  <a:cubicBezTo>
                    <a:pt x="447" y="1107"/>
                    <a:pt x="458" y="1082"/>
                    <a:pt x="466" y="1053"/>
                  </a:cubicBezTo>
                  <a:cubicBezTo>
                    <a:pt x="473" y="1025"/>
                    <a:pt x="475" y="993"/>
                    <a:pt x="476" y="967"/>
                  </a:cubicBezTo>
                  <a:cubicBezTo>
                    <a:pt x="424" y="909"/>
                    <a:pt x="382" y="814"/>
                    <a:pt x="359" y="740"/>
                  </a:cubicBezTo>
                  <a:cubicBezTo>
                    <a:pt x="292" y="697"/>
                    <a:pt x="266" y="610"/>
                    <a:pt x="285" y="534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1" name="TextBox 100"/>
          <p:cNvSpPr txBox="1"/>
          <p:nvPr/>
        </p:nvSpPr>
        <p:spPr bwMode="gray">
          <a:xfrm>
            <a:off x="8115947" y="5421957"/>
            <a:ext cx="3145608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sico Vermijders </a:t>
            </a:r>
            <a:r>
              <a:rPr lang="nl-BE" sz="1400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schouwen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de meeste van de genoemde </a:t>
            </a:r>
            <a:r>
              <a:rPr lang="nl-BE" sz="1400" b="1" dirty="0">
                <a:solidFill>
                  <a:srgbClr val="A2AD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sicogedragingen als gevaarlijker </a:t>
            </a: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an de </a:t>
            </a:r>
            <a:r>
              <a:rPr lang="nl-BE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nderen.</a:t>
            </a:r>
            <a:endParaRPr lang="nl-BE" sz="1400" b="1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102" name="Group 15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8264572" y="4991982"/>
            <a:ext cx="254665" cy="258085"/>
            <a:chOff x="423" y="-837"/>
            <a:chExt cx="4914" cy="4980"/>
          </a:xfrm>
          <a:solidFill>
            <a:schemeClr val="tx1"/>
          </a:solidFill>
        </p:grpSpPr>
        <p:sp>
          <p:nvSpPr>
            <p:cNvPr id="103" name="Freeform 16"/>
            <p:cNvSpPr>
              <a:spLocks noEditPoints="1"/>
            </p:cNvSpPr>
            <p:nvPr/>
          </p:nvSpPr>
          <p:spPr bwMode="auto">
            <a:xfrm>
              <a:off x="1302" y="1816"/>
              <a:ext cx="2915" cy="2327"/>
            </a:xfrm>
            <a:custGeom>
              <a:avLst/>
              <a:gdLst>
                <a:gd name="T0" fmla="*/ 748 w 1234"/>
                <a:gd name="T1" fmla="*/ 482 h 985"/>
                <a:gd name="T2" fmla="*/ 748 w 1234"/>
                <a:gd name="T3" fmla="*/ 652 h 985"/>
                <a:gd name="T4" fmla="*/ 721 w 1234"/>
                <a:gd name="T5" fmla="*/ 857 h 985"/>
                <a:gd name="T6" fmla="*/ 448 w 1234"/>
                <a:gd name="T7" fmla="*/ 930 h 985"/>
                <a:gd name="T8" fmla="*/ 375 w 1234"/>
                <a:gd name="T9" fmla="*/ 657 h 985"/>
                <a:gd name="T10" fmla="*/ 539 w 1234"/>
                <a:gd name="T11" fmla="*/ 531 h 985"/>
                <a:gd name="T12" fmla="*/ 686 w 1234"/>
                <a:gd name="T13" fmla="*/ 447 h 985"/>
                <a:gd name="T14" fmla="*/ 753 w 1234"/>
                <a:gd name="T15" fmla="*/ 403 h 985"/>
                <a:gd name="T16" fmla="*/ 748 w 1234"/>
                <a:gd name="T17" fmla="*/ 482 h 985"/>
                <a:gd name="T18" fmla="*/ 428 w 1234"/>
                <a:gd name="T19" fmla="*/ 79 h 985"/>
                <a:gd name="T20" fmla="*/ 428 w 1234"/>
                <a:gd name="T21" fmla="*/ 249 h 985"/>
                <a:gd name="T22" fmla="*/ 401 w 1234"/>
                <a:gd name="T23" fmla="*/ 454 h 985"/>
                <a:gd name="T24" fmla="*/ 128 w 1234"/>
                <a:gd name="T25" fmla="*/ 527 h 985"/>
                <a:gd name="T26" fmla="*/ 55 w 1234"/>
                <a:gd name="T27" fmla="*/ 254 h 985"/>
                <a:gd name="T28" fmla="*/ 219 w 1234"/>
                <a:gd name="T29" fmla="*/ 129 h 985"/>
                <a:gd name="T30" fmla="*/ 366 w 1234"/>
                <a:gd name="T31" fmla="*/ 44 h 985"/>
                <a:gd name="T32" fmla="*/ 433 w 1234"/>
                <a:gd name="T33" fmla="*/ 0 h 985"/>
                <a:gd name="T34" fmla="*/ 428 w 1234"/>
                <a:gd name="T35" fmla="*/ 79 h 985"/>
                <a:gd name="T36" fmla="*/ 1228 w 1234"/>
                <a:gd name="T37" fmla="*/ 82 h 985"/>
                <a:gd name="T38" fmla="*/ 1228 w 1234"/>
                <a:gd name="T39" fmla="*/ 252 h 985"/>
                <a:gd name="T40" fmla="*/ 1201 w 1234"/>
                <a:gd name="T41" fmla="*/ 457 h 985"/>
                <a:gd name="T42" fmla="*/ 928 w 1234"/>
                <a:gd name="T43" fmla="*/ 530 h 985"/>
                <a:gd name="T44" fmla="*/ 855 w 1234"/>
                <a:gd name="T45" fmla="*/ 257 h 985"/>
                <a:gd name="T46" fmla="*/ 1019 w 1234"/>
                <a:gd name="T47" fmla="*/ 131 h 985"/>
                <a:gd name="T48" fmla="*/ 1166 w 1234"/>
                <a:gd name="T49" fmla="*/ 47 h 985"/>
                <a:gd name="T50" fmla="*/ 1233 w 1234"/>
                <a:gd name="T51" fmla="*/ 3 h 985"/>
                <a:gd name="T52" fmla="*/ 1228 w 1234"/>
                <a:gd name="T53" fmla="*/ 82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34" h="985">
                  <a:moveTo>
                    <a:pt x="748" y="482"/>
                  </a:moveTo>
                  <a:cubicBezTo>
                    <a:pt x="744" y="549"/>
                    <a:pt x="746" y="605"/>
                    <a:pt x="748" y="652"/>
                  </a:cubicBezTo>
                  <a:cubicBezTo>
                    <a:pt x="752" y="738"/>
                    <a:pt x="754" y="800"/>
                    <a:pt x="721" y="857"/>
                  </a:cubicBezTo>
                  <a:cubicBezTo>
                    <a:pt x="666" y="953"/>
                    <a:pt x="544" y="985"/>
                    <a:pt x="448" y="930"/>
                  </a:cubicBezTo>
                  <a:cubicBezTo>
                    <a:pt x="352" y="875"/>
                    <a:pt x="320" y="753"/>
                    <a:pt x="375" y="657"/>
                  </a:cubicBezTo>
                  <a:cubicBezTo>
                    <a:pt x="408" y="600"/>
                    <a:pt x="463" y="571"/>
                    <a:pt x="539" y="531"/>
                  </a:cubicBezTo>
                  <a:cubicBezTo>
                    <a:pt x="581" y="509"/>
                    <a:pt x="630" y="483"/>
                    <a:pt x="686" y="447"/>
                  </a:cubicBezTo>
                  <a:cubicBezTo>
                    <a:pt x="753" y="403"/>
                    <a:pt x="753" y="403"/>
                    <a:pt x="753" y="403"/>
                  </a:cubicBezTo>
                  <a:lnTo>
                    <a:pt x="748" y="482"/>
                  </a:lnTo>
                  <a:close/>
                  <a:moveTo>
                    <a:pt x="428" y="79"/>
                  </a:moveTo>
                  <a:cubicBezTo>
                    <a:pt x="424" y="146"/>
                    <a:pt x="426" y="202"/>
                    <a:pt x="428" y="249"/>
                  </a:cubicBezTo>
                  <a:cubicBezTo>
                    <a:pt x="432" y="335"/>
                    <a:pt x="434" y="397"/>
                    <a:pt x="401" y="454"/>
                  </a:cubicBezTo>
                  <a:cubicBezTo>
                    <a:pt x="346" y="550"/>
                    <a:pt x="224" y="583"/>
                    <a:pt x="128" y="527"/>
                  </a:cubicBezTo>
                  <a:cubicBezTo>
                    <a:pt x="32" y="472"/>
                    <a:pt x="0" y="350"/>
                    <a:pt x="55" y="254"/>
                  </a:cubicBezTo>
                  <a:cubicBezTo>
                    <a:pt x="88" y="197"/>
                    <a:pt x="143" y="168"/>
                    <a:pt x="219" y="129"/>
                  </a:cubicBezTo>
                  <a:cubicBezTo>
                    <a:pt x="261" y="107"/>
                    <a:pt x="310" y="81"/>
                    <a:pt x="366" y="44"/>
                  </a:cubicBezTo>
                  <a:cubicBezTo>
                    <a:pt x="433" y="0"/>
                    <a:pt x="433" y="0"/>
                    <a:pt x="433" y="0"/>
                  </a:cubicBezTo>
                  <a:lnTo>
                    <a:pt x="428" y="79"/>
                  </a:lnTo>
                  <a:close/>
                  <a:moveTo>
                    <a:pt x="1228" y="82"/>
                  </a:moveTo>
                  <a:cubicBezTo>
                    <a:pt x="1224" y="149"/>
                    <a:pt x="1226" y="205"/>
                    <a:pt x="1228" y="252"/>
                  </a:cubicBezTo>
                  <a:cubicBezTo>
                    <a:pt x="1232" y="338"/>
                    <a:pt x="1234" y="400"/>
                    <a:pt x="1201" y="457"/>
                  </a:cubicBezTo>
                  <a:cubicBezTo>
                    <a:pt x="1146" y="553"/>
                    <a:pt x="1024" y="585"/>
                    <a:pt x="928" y="530"/>
                  </a:cubicBezTo>
                  <a:cubicBezTo>
                    <a:pt x="832" y="475"/>
                    <a:pt x="800" y="353"/>
                    <a:pt x="855" y="257"/>
                  </a:cubicBezTo>
                  <a:cubicBezTo>
                    <a:pt x="888" y="200"/>
                    <a:pt x="943" y="171"/>
                    <a:pt x="1019" y="131"/>
                  </a:cubicBezTo>
                  <a:cubicBezTo>
                    <a:pt x="1061" y="109"/>
                    <a:pt x="1110" y="83"/>
                    <a:pt x="1166" y="47"/>
                  </a:cubicBezTo>
                  <a:cubicBezTo>
                    <a:pt x="1233" y="3"/>
                    <a:pt x="1233" y="3"/>
                    <a:pt x="1233" y="3"/>
                  </a:cubicBezTo>
                  <a:lnTo>
                    <a:pt x="1228" y="82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Freeform 17"/>
            <p:cNvSpPr>
              <a:spLocks/>
            </p:cNvSpPr>
            <p:nvPr/>
          </p:nvSpPr>
          <p:spPr bwMode="auto">
            <a:xfrm>
              <a:off x="423" y="-837"/>
              <a:ext cx="4914" cy="3402"/>
            </a:xfrm>
            <a:custGeom>
              <a:avLst/>
              <a:gdLst>
                <a:gd name="T0" fmla="*/ 326 w 2080"/>
                <a:gd name="T1" fmla="*/ 1420 h 1440"/>
                <a:gd name="T2" fmla="*/ 0 w 2080"/>
                <a:gd name="T3" fmla="*/ 986 h 1440"/>
                <a:gd name="T4" fmla="*/ 307 w 2080"/>
                <a:gd name="T5" fmla="*/ 555 h 1440"/>
                <a:gd name="T6" fmla="*/ 786 w 2080"/>
                <a:gd name="T7" fmla="*/ 3 h 1440"/>
                <a:gd name="T8" fmla="*/ 847 w 2080"/>
                <a:gd name="T9" fmla="*/ 0 h 1440"/>
                <a:gd name="T10" fmla="*/ 1292 w 2080"/>
                <a:gd name="T11" fmla="*/ 231 h 1440"/>
                <a:gd name="T12" fmla="*/ 1702 w 2080"/>
                <a:gd name="T13" fmla="*/ 292 h 1440"/>
                <a:gd name="T14" fmla="*/ 1852 w 2080"/>
                <a:gd name="T15" fmla="*/ 714 h 1440"/>
                <a:gd name="T16" fmla="*/ 2080 w 2080"/>
                <a:gd name="T17" fmla="*/ 1062 h 1440"/>
                <a:gd name="T18" fmla="*/ 1696 w 2080"/>
                <a:gd name="T19" fmla="*/ 1440 h 1440"/>
                <a:gd name="T20" fmla="*/ 1682 w 2080"/>
                <a:gd name="T21" fmla="*/ 1440 h 1440"/>
                <a:gd name="T22" fmla="*/ 1680 w 2080"/>
                <a:gd name="T23" fmla="*/ 1372 h 1440"/>
                <a:gd name="T24" fmla="*/ 1680 w 2080"/>
                <a:gd name="T25" fmla="*/ 1210 h 1440"/>
                <a:gd name="T26" fmla="*/ 1684 w 2080"/>
                <a:gd name="T27" fmla="*/ 1130 h 1440"/>
                <a:gd name="T28" fmla="*/ 1645 w 2080"/>
                <a:gd name="T29" fmla="*/ 1056 h 1440"/>
                <a:gd name="T30" fmla="*/ 1560 w 2080"/>
                <a:gd name="T31" fmla="*/ 1059 h 1440"/>
                <a:gd name="T32" fmla="*/ 1494 w 2080"/>
                <a:gd name="T33" fmla="*/ 1103 h 1440"/>
                <a:gd name="T34" fmla="*/ 1354 w 2080"/>
                <a:gd name="T35" fmla="*/ 1184 h 1440"/>
                <a:gd name="T36" fmla="*/ 1158 w 2080"/>
                <a:gd name="T37" fmla="*/ 1340 h 1440"/>
                <a:gd name="T38" fmla="*/ 1123 w 2080"/>
                <a:gd name="T39" fmla="*/ 1440 h 1440"/>
                <a:gd name="T40" fmla="*/ 882 w 2080"/>
                <a:gd name="T41" fmla="*/ 1440 h 1440"/>
                <a:gd name="T42" fmla="*/ 880 w 2080"/>
                <a:gd name="T43" fmla="*/ 1369 h 1440"/>
                <a:gd name="T44" fmla="*/ 880 w 2080"/>
                <a:gd name="T45" fmla="*/ 1207 h 1440"/>
                <a:gd name="T46" fmla="*/ 884 w 2080"/>
                <a:gd name="T47" fmla="*/ 1128 h 1440"/>
                <a:gd name="T48" fmla="*/ 845 w 2080"/>
                <a:gd name="T49" fmla="*/ 1054 h 1440"/>
                <a:gd name="T50" fmla="*/ 760 w 2080"/>
                <a:gd name="T51" fmla="*/ 1056 h 1440"/>
                <a:gd name="T52" fmla="*/ 694 w 2080"/>
                <a:gd name="T53" fmla="*/ 1100 h 1440"/>
                <a:gd name="T54" fmla="*/ 554 w 2080"/>
                <a:gd name="T55" fmla="*/ 1180 h 1440"/>
                <a:gd name="T56" fmla="*/ 358 w 2080"/>
                <a:gd name="T57" fmla="*/ 1337 h 1440"/>
                <a:gd name="T58" fmla="*/ 326 w 2080"/>
                <a:gd name="T59" fmla="*/ 1420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80" h="1440">
                  <a:moveTo>
                    <a:pt x="326" y="1420"/>
                  </a:moveTo>
                  <a:cubicBezTo>
                    <a:pt x="139" y="1363"/>
                    <a:pt x="0" y="1192"/>
                    <a:pt x="0" y="986"/>
                  </a:cubicBezTo>
                  <a:cubicBezTo>
                    <a:pt x="0" y="777"/>
                    <a:pt x="111" y="625"/>
                    <a:pt x="307" y="555"/>
                  </a:cubicBezTo>
                  <a:cubicBezTo>
                    <a:pt x="293" y="260"/>
                    <a:pt x="493" y="30"/>
                    <a:pt x="786" y="3"/>
                  </a:cubicBezTo>
                  <a:cubicBezTo>
                    <a:pt x="807" y="1"/>
                    <a:pt x="828" y="0"/>
                    <a:pt x="847" y="0"/>
                  </a:cubicBezTo>
                  <a:cubicBezTo>
                    <a:pt x="1040" y="0"/>
                    <a:pt x="1175" y="84"/>
                    <a:pt x="1292" y="231"/>
                  </a:cubicBezTo>
                  <a:cubicBezTo>
                    <a:pt x="1430" y="183"/>
                    <a:pt x="1586" y="200"/>
                    <a:pt x="1702" y="292"/>
                  </a:cubicBezTo>
                  <a:cubicBezTo>
                    <a:pt x="1832" y="394"/>
                    <a:pt x="1875" y="555"/>
                    <a:pt x="1852" y="714"/>
                  </a:cubicBezTo>
                  <a:cubicBezTo>
                    <a:pt x="2003" y="784"/>
                    <a:pt x="2080" y="894"/>
                    <a:pt x="2080" y="1062"/>
                  </a:cubicBezTo>
                  <a:cubicBezTo>
                    <a:pt x="2080" y="1273"/>
                    <a:pt x="1905" y="1440"/>
                    <a:pt x="1696" y="1440"/>
                  </a:cubicBezTo>
                  <a:cubicBezTo>
                    <a:pt x="1682" y="1440"/>
                    <a:pt x="1682" y="1440"/>
                    <a:pt x="1682" y="1440"/>
                  </a:cubicBezTo>
                  <a:cubicBezTo>
                    <a:pt x="1682" y="1418"/>
                    <a:pt x="1681" y="1395"/>
                    <a:pt x="1680" y="1372"/>
                  </a:cubicBezTo>
                  <a:cubicBezTo>
                    <a:pt x="1678" y="1318"/>
                    <a:pt x="1676" y="1264"/>
                    <a:pt x="1680" y="1210"/>
                  </a:cubicBezTo>
                  <a:cubicBezTo>
                    <a:pt x="1684" y="1130"/>
                    <a:pt x="1684" y="1130"/>
                    <a:pt x="1684" y="1130"/>
                  </a:cubicBezTo>
                  <a:cubicBezTo>
                    <a:pt x="1686" y="1099"/>
                    <a:pt x="1672" y="1072"/>
                    <a:pt x="1645" y="1056"/>
                  </a:cubicBezTo>
                  <a:cubicBezTo>
                    <a:pt x="1618" y="1041"/>
                    <a:pt x="1586" y="1042"/>
                    <a:pt x="1560" y="1059"/>
                  </a:cubicBezTo>
                  <a:cubicBezTo>
                    <a:pt x="1494" y="1103"/>
                    <a:pt x="1494" y="1103"/>
                    <a:pt x="1494" y="1103"/>
                  </a:cubicBezTo>
                  <a:cubicBezTo>
                    <a:pt x="1448" y="1133"/>
                    <a:pt x="1402" y="1158"/>
                    <a:pt x="1354" y="1184"/>
                  </a:cubicBezTo>
                  <a:cubicBezTo>
                    <a:pt x="1276" y="1224"/>
                    <a:pt x="1203" y="1262"/>
                    <a:pt x="1158" y="1340"/>
                  </a:cubicBezTo>
                  <a:cubicBezTo>
                    <a:pt x="1139" y="1372"/>
                    <a:pt x="1128" y="1406"/>
                    <a:pt x="1123" y="1440"/>
                  </a:cubicBezTo>
                  <a:cubicBezTo>
                    <a:pt x="882" y="1440"/>
                    <a:pt x="882" y="1440"/>
                    <a:pt x="882" y="1440"/>
                  </a:cubicBezTo>
                  <a:cubicBezTo>
                    <a:pt x="882" y="1417"/>
                    <a:pt x="881" y="1393"/>
                    <a:pt x="880" y="1369"/>
                  </a:cubicBezTo>
                  <a:cubicBezTo>
                    <a:pt x="878" y="1315"/>
                    <a:pt x="876" y="1262"/>
                    <a:pt x="880" y="1207"/>
                  </a:cubicBezTo>
                  <a:cubicBezTo>
                    <a:pt x="884" y="1128"/>
                    <a:pt x="884" y="1128"/>
                    <a:pt x="884" y="1128"/>
                  </a:cubicBezTo>
                  <a:cubicBezTo>
                    <a:pt x="886" y="1096"/>
                    <a:pt x="872" y="1069"/>
                    <a:pt x="845" y="1054"/>
                  </a:cubicBezTo>
                  <a:cubicBezTo>
                    <a:pt x="818" y="1038"/>
                    <a:pt x="786" y="1039"/>
                    <a:pt x="760" y="1056"/>
                  </a:cubicBezTo>
                  <a:cubicBezTo>
                    <a:pt x="694" y="1100"/>
                    <a:pt x="694" y="1100"/>
                    <a:pt x="694" y="1100"/>
                  </a:cubicBezTo>
                  <a:cubicBezTo>
                    <a:pt x="648" y="1130"/>
                    <a:pt x="602" y="1155"/>
                    <a:pt x="554" y="1180"/>
                  </a:cubicBezTo>
                  <a:cubicBezTo>
                    <a:pt x="476" y="1221"/>
                    <a:pt x="403" y="1258"/>
                    <a:pt x="358" y="1337"/>
                  </a:cubicBezTo>
                  <a:cubicBezTo>
                    <a:pt x="342" y="1364"/>
                    <a:pt x="332" y="1392"/>
                    <a:pt x="326" y="142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9" name="TextBox 48"/>
          <p:cNvSpPr txBox="1"/>
          <p:nvPr/>
        </p:nvSpPr>
        <p:spPr bwMode="gray">
          <a:xfrm>
            <a:off x="9134705" y="6398219"/>
            <a:ext cx="145364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0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gnificant verschillend van de totale steekproef</a:t>
            </a:r>
          </a:p>
        </p:txBody>
      </p:sp>
      <p:sp>
        <p:nvSpPr>
          <p:cNvPr id="50" name="Freeform 49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7701616" y="5480134"/>
            <a:ext cx="322305" cy="224413"/>
          </a:xfrm>
          <a:custGeom>
            <a:avLst/>
            <a:gdLst>
              <a:gd name="T0" fmla="*/ 1034 w 2068"/>
              <a:gd name="T1" fmla="*/ 0 h 1440"/>
              <a:gd name="T2" fmla="*/ 2065 w 2068"/>
              <a:gd name="T3" fmla="*/ 706 h 1440"/>
              <a:gd name="T4" fmla="*/ 2065 w 2068"/>
              <a:gd name="T5" fmla="*/ 734 h 1440"/>
              <a:gd name="T6" fmla="*/ 1034 w 2068"/>
              <a:gd name="T7" fmla="*/ 1440 h 1440"/>
              <a:gd name="T8" fmla="*/ 3 w 2068"/>
              <a:gd name="T9" fmla="*/ 734 h 1440"/>
              <a:gd name="T10" fmla="*/ 3 w 2068"/>
              <a:gd name="T11" fmla="*/ 706 h 1440"/>
              <a:gd name="T12" fmla="*/ 1034 w 2068"/>
              <a:gd name="T13" fmla="*/ 0 h 1440"/>
              <a:gd name="T14" fmla="*/ 1034 w 2068"/>
              <a:gd name="T15" fmla="*/ 160 h 1440"/>
              <a:gd name="T16" fmla="*/ 474 w 2068"/>
              <a:gd name="T17" fmla="*/ 720 h 1440"/>
              <a:gd name="T18" fmla="*/ 1034 w 2068"/>
              <a:gd name="T19" fmla="*/ 1280 h 1440"/>
              <a:gd name="T20" fmla="*/ 1594 w 2068"/>
              <a:gd name="T21" fmla="*/ 720 h 1440"/>
              <a:gd name="T22" fmla="*/ 1034 w 2068"/>
              <a:gd name="T23" fmla="*/ 160 h 1440"/>
              <a:gd name="T24" fmla="*/ 1322 w 2068"/>
              <a:gd name="T25" fmla="*/ 336 h 1440"/>
              <a:gd name="T26" fmla="*/ 686 w 2068"/>
              <a:gd name="T27" fmla="*/ 1051 h 1440"/>
              <a:gd name="T28" fmla="*/ 554 w 2068"/>
              <a:gd name="T29" fmla="*/ 720 h 1440"/>
              <a:gd name="T30" fmla="*/ 1034 w 2068"/>
              <a:gd name="T31" fmla="*/ 240 h 1440"/>
              <a:gd name="T32" fmla="*/ 1322 w 2068"/>
              <a:gd name="T33" fmla="*/ 336 h 1440"/>
              <a:gd name="T34" fmla="*/ 1514 w 2068"/>
              <a:gd name="T35" fmla="*/ 720 h 1440"/>
              <a:gd name="T36" fmla="*/ 1382 w 2068"/>
              <a:gd name="T37" fmla="*/ 389 h 1440"/>
              <a:gd name="T38" fmla="*/ 746 w 2068"/>
              <a:gd name="T39" fmla="*/ 1104 h 1440"/>
              <a:gd name="T40" fmla="*/ 1034 w 2068"/>
              <a:gd name="T41" fmla="*/ 1200 h 1440"/>
              <a:gd name="T42" fmla="*/ 1514 w 2068"/>
              <a:gd name="T43" fmla="*/ 72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68" h="1440">
                <a:moveTo>
                  <a:pt x="1034" y="0"/>
                </a:moveTo>
                <a:cubicBezTo>
                  <a:pt x="1464" y="0"/>
                  <a:pt x="1910" y="303"/>
                  <a:pt x="2065" y="706"/>
                </a:cubicBezTo>
                <a:cubicBezTo>
                  <a:pt x="2068" y="715"/>
                  <a:pt x="2068" y="725"/>
                  <a:pt x="2065" y="734"/>
                </a:cubicBezTo>
                <a:cubicBezTo>
                  <a:pt x="1910" y="1137"/>
                  <a:pt x="1465" y="1440"/>
                  <a:pt x="1034" y="1440"/>
                </a:cubicBezTo>
                <a:cubicBezTo>
                  <a:pt x="603" y="1440"/>
                  <a:pt x="158" y="1137"/>
                  <a:pt x="3" y="734"/>
                </a:cubicBezTo>
                <a:cubicBezTo>
                  <a:pt x="0" y="725"/>
                  <a:pt x="0" y="715"/>
                  <a:pt x="3" y="706"/>
                </a:cubicBezTo>
                <a:cubicBezTo>
                  <a:pt x="158" y="303"/>
                  <a:pt x="604" y="0"/>
                  <a:pt x="1034" y="0"/>
                </a:cubicBezTo>
                <a:close/>
                <a:moveTo>
                  <a:pt x="1034" y="160"/>
                </a:moveTo>
                <a:cubicBezTo>
                  <a:pt x="725" y="160"/>
                  <a:pt x="474" y="411"/>
                  <a:pt x="474" y="720"/>
                </a:cubicBezTo>
                <a:cubicBezTo>
                  <a:pt x="474" y="1029"/>
                  <a:pt x="725" y="1280"/>
                  <a:pt x="1034" y="1280"/>
                </a:cubicBezTo>
                <a:cubicBezTo>
                  <a:pt x="1343" y="1280"/>
                  <a:pt x="1594" y="1029"/>
                  <a:pt x="1594" y="720"/>
                </a:cubicBezTo>
                <a:cubicBezTo>
                  <a:pt x="1594" y="411"/>
                  <a:pt x="1343" y="160"/>
                  <a:pt x="1034" y="160"/>
                </a:cubicBezTo>
                <a:close/>
                <a:moveTo>
                  <a:pt x="1322" y="336"/>
                </a:moveTo>
                <a:cubicBezTo>
                  <a:pt x="686" y="1051"/>
                  <a:pt x="686" y="1051"/>
                  <a:pt x="686" y="1051"/>
                </a:cubicBezTo>
                <a:cubicBezTo>
                  <a:pt x="604" y="965"/>
                  <a:pt x="554" y="848"/>
                  <a:pt x="554" y="720"/>
                </a:cubicBezTo>
                <a:cubicBezTo>
                  <a:pt x="554" y="455"/>
                  <a:pt x="769" y="240"/>
                  <a:pt x="1034" y="240"/>
                </a:cubicBezTo>
                <a:cubicBezTo>
                  <a:pt x="1142" y="240"/>
                  <a:pt x="1242" y="276"/>
                  <a:pt x="1322" y="336"/>
                </a:cubicBezTo>
                <a:close/>
                <a:moveTo>
                  <a:pt x="1514" y="720"/>
                </a:moveTo>
                <a:cubicBezTo>
                  <a:pt x="1514" y="592"/>
                  <a:pt x="1464" y="475"/>
                  <a:pt x="1382" y="389"/>
                </a:cubicBezTo>
                <a:cubicBezTo>
                  <a:pt x="746" y="1104"/>
                  <a:pt x="746" y="1104"/>
                  <a:pt x="746" y="1104"/>
                </a:cubicBezTo>
                <a:cubicBezTo>
                  <a:pt x="826" y="1164"/>
                  <a:pt x="926" y="1200"/>
                  <a:pt x="1034" y="1200"/>
                </a:cubicBezTo>
                <a:cubicBezTo>
                  <a:pt x="1299" y="1200"/>
                  <a:pt x="1514" y="985"/>
                  <a:pt x="1514" y="72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hevron 50"/>
          <p:cNvSpPr/>
          <p:nvPr/>
        </p:nvSpPr>
        <p:spPr bwMode="gray">
          <a:xfrm>
            <a:off x="6243130" y="3885990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2" name="Chevron 51"/>
          <p:cNvSpPr/>
          <p:nvPr/>
        </p:nvSpPr>
        <p:spPr bwMode="gray">
          <a:xfrm>
            <a:off x="6290731" y="2361802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3" name="Chevron 52"/>
          <p:cNvSpPr/>
          <p:nvPr/>
        </p:nvSpPr>
        <p:spPr bwMode="gray">
          <a:xfrm>
            <a:off x="6252845" y="5422148"/>
            <a:ext cx="1232050" cy="459548"/>
          </a:xfrm>
          <a:prstGeom prst="chevron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 bwMode="gray">
          <a:xfrm>
            <a:off x="7988247" y="3604954"/>
            <a:ext cx="2788941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vaarlijk gedrag dat in de afgelopen </a:t>
            </a:r>
            <a:b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nl-BE" sz="13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6 maanden het vaakst voorkwam</a:t>
            </a:r>
          </a:p>
        </p:txBody>
      </p:sp>
    </p:spTree>
    <p:extLst>
      <p:ext uri="{BB962C8B-B14F-4D97-AF65-F5344CB8AC3E}">
        <p14:creationId xmlns:p14="http://schemas.microsoft.com/office/powerpoint/2010/main" val="4256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240387"/>
            <a:ext cx="12180888" cy="8098387"/>
          </a:xfrm>
          <a:prstGeom prst="rect">
            <a:avLst/>
          </a:prstGeom>
        </p:spPr>
      </p:pic>
      <p:sp>
        <p:nvSpPr>
          <p:cNvPr id="6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27382" y="2337563"/>
            <a:ext cx="4512501" cy="2016223"/>
          </a:xfrm>
          <a:prstGeom prst="homePlate">
            <a:avLst>
              <a:gd name="adj" fmla="val 28868"/>
            </a:avLst>
          </a:prstGeom>
          <a:solidFill>
            <a:schemeClr val="bg1">
              <a:alpha val="8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6000" rIns="12192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</a:pPr>
            <a:r>
              <a:rPr lang="nl-BE" sz="20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</a:rPr>
              <a:t>Spoorlopen en onvoorzichtig </a:t>
            </a:r>
            <a:br>
              <a:rPr lang="nl-BE" sz="20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</a:rPr>
            </a:br>
            <a:r>
              <a:rPr lang="nl-BE" sz="20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</a:rPr>
              <a:t>gedrag aan overwegen zijn </a:t>
            </a:r>
            <a:br>
              <a:rPr lang="nl-BE" sz="20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</a:rPr>
            </a:br>
            <a:r>
              <a:rPr lang="nl-BE" sz="20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</a:rPr>
              <a:t>2 verschillende problematieken. </a:t>
            </a:r>
            <a:br>
              <a:rPr lang="nl-BE" sz="20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</a:rPr>
            </a:br>
            <a:r>
              <a:rPr lang="nl-BE" sz="2000" dirty="0">
                <a:solidFill>
                  <a:srgbClr val="000000">
                    <a:lumMod val="85000"/>
                    <a:lumOff val="15000"/>
                  </a:srgbClr>
                </a:solidFill>
                <a:latin typeface="Calibri" panose="020F0502020204030204" pitchFamily="34" charset="0"/>
              </a:rPr>
              <a:t>Voor elk geldt echter: </a:t>
            </a:r>
          </a:p>
        </p:txBody>
      </p:sp>
      <p:sp>
        <p:nvSpPr>
          <p:cNvPr id="8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51851" y="2337564"/>
            <a:ext cx="6816757" cy="2016221"/>
          </a:xfrm>
          <a:prstGeom prst="chevron">
            <a:avLst>
              <a:gd name="adj" fmla="val 28868"/>
            </a:avLst>
          </a:prstGeom>
          <a:solidFill>
            <a:schemeClr val="bg1">
              <a:alpha val="80000"/>
            </a:schemeClr>
          </a:solidFill>
          <a:ln w="12700"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96000" rIns="121920" bIns="9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algn="l" defTabSz="121917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BE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Dat er een veilige groep is </a:t>
            </a:r>
            <a:br>
              <a:rPr lang="nl-BE" sz="2000" b="1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endParaRPr lang="nl-BE" sz="20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 algn="l" defTabSz="121917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BE" sz="2000" b="1" dirty="0">
                <a:solidFill>
                  <a:srgbClr val="000000"/>
                </a:solidFill>
                <a:latin typeface="Calibri" panose="020F0502020204030204" pitchFamily="34" charset="0"/>
              </a:rPr>
              <a:t>Dat sensibilisering en repressie noodzakelijk zijn voor de niet-veilige groepen </a:t>
            </a:r>
          </a:p>
        </p:txBody>
      </p:sp>
      <p:sp>
        <p:nvSpPr>
          <p:cNvPr id="19" name="Titel 3"/>
          <p:cNvSpPr txBox="1">
            <a:spLocks/>
          </p:cNvSpPr>
          <p:nvPr/>
        </p:nvSpPr>
        <p:spPr bwMode="gray">
          <a:xfrm>
            <a:off x="431216" y="260560"/>
            <a:ext cx="854518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 cap="none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defTabSz="1219170" fontAlgn="auto">
              <a:spcAft>
                <a:spcPts val="0"/>
              </a:spcAft>
            </a:pPr>
            <a:endParaRPr lang="en-US" sz="24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913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029" y="-29029"/>
            <a:ext cx="12221030" cy="6891648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503712" y="472705"/>
            <a:ext cx="9217025" cy="887413"/>
          </a:xfrm>
        </p:spPr>
        <p:txBody>
          <a:bodyPr/>
          <a:lstStyle/>
          <a:p>
            <a:r>
              <a:rPr lang="fr-BE" sz="4400" dirty="0">
                <a:solidFill>
                  <a:schemeClr val="bg1"/>
                </a:solidFill>
                <a:latin typeface="Calibri" panose="020F0502020204030204" pitchFamily="34" charset="0"/>
              </a:rPr>
              <a:t>3. Het </a:t>
            </a:r>
            <a:r>
              <a:rPr lang="fr-BE" sz="4400" dirty="0" err="1">
                <a:solidFill>
                  <a:schemeClr val="bg1"/>
                </a:solidFill>
                <a:latin typeface="Calibri" panose="020F0502020204030204" pitchFamily="34" charset="0"/>
              </a:rPr>
              <a:t>Nationaal</a:t>
            </a:r>
            <a:r>
              <a:rPr lang="fr-BE" sz="4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fr-BE" sz="4400" dirty="0" err="1">
                <a:solidFill>
                  <a:schemeClr val="bg1"/>
                </a:solidFill>
                <a:latin typeface="Calibri" panose="020F0502020204030204" pitchFamily="34" charset="0"/>
              </a:rPr>
              <a:t>Actieplan</a:t>
            </a:r>
            <a:r>
              <a:rPr lang="fr-BE" sz="4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fr-BE" sz="4400" dirty="0" err="1">
                <a:solidFill>
                  <a:schemeClr val="bg1"/>
                </a:solidFill>
                <a:latin typeface="Calibri" panose="020F0502020204030204" pitchFamily="34" charset="0"/>
              </a:rPr>
              <a:t>Railspect</a:t>
            </a:r>
            <a:endParaRPr lang="fr-BE" sz="4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13FC84-0536-1543-84B1-45C63D659B76}"/>
              </a:ext>
            </a:extLst>
          </p:cNvPr>
          <p:cNvSpPr/>
          <p:nvPr/>
        </p:nvSpPr>
        <p:spPr>
          <a:xfrm flipH="1" flipV="1">
            <a:off x="-25052" y="-12526"/>
            <a:ext cx="2293898" cy="6874024"/>
          </a:xfrm>
          <a:custGeom>
            <a:avLst/>
            <a:gdLst>
              <a:gd name="connsiteX0" fmla="*/ 0 w 4455622"/>
              <a:gd name="connsiteY0" fmla="*/ 0 h 2664229"/>
              <a:gd name="connsiteX1" fmla="*/ 4455622 w 4455622"/>
              <a:gd name="connsiteY1" fmla="*/ 0 h 2664229"/>
              <a:gd name="connsiteX2" fmla="*/ 4455622 w 4455622"/>
              <a:gd name="connsiteY2" fmla="*/ 2664229 h 2664229"/>
              <a:gd name="connsiteX3" fmla="*/ 0 w 4455622"/>
              <a:gd name="connsiteY3" fmla="*/ 2664229 h 2664229"/>
              <a:gd name="connsiteX4" fmla="*/ 0 w 4455622"/>
              <a:gd name="connsiteY4" fmla="*/ 0 h 2664229"/>
              <a:gd name="connsiteX0" fmla="*/ 2111432 w 6567054"/>
              <a:gd name="connsiteY0" fmla="*/ 0 h 6870469"/>
              <a:gd name="connsiteX1" fmla="*/ 6567054 w 6567054"/>
              <a:gd name="connsiteY1" fmla="*/ 0 h 6870469"/>
              <a:gd name="connsiteX2" fmla="*/ 6567054 w 6567054"/>
              <a:gd name="connsiteY2" fmla="*/ 2664229 h 6870469"/>
              <a:gd name="connsiteX3" fmla="*/ 0 w 6567054"/>
              <a:gd name="connsiteY3" fmla="*/ 6870469 h 6870469"/>
              <a:gd name="connsiteX4" fmla="*/ 2111432 w 6567054"/>
              <a:gd name="connsiteY4" fmla="*/ 0 h 6870469"/>
              <a:gd name="connsiteX0" fmla="*/ 2111432 w 7356763"/>
              <a:gd name="connsiteY0" fmla="*/ 0 h 6870469"/>
              <a:gd name="connsiteX1" fmla="*/ 6567054 w 7356763"/>
              <a:gd name="connsiteY1" fmla="*/ 0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7306887 w 7356763"/>
              <a:gd name="connsiteY1" fmla="*/ 8313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6991004 w 7356763"/>
              <a:gd name="connsiteY1" fmla="*/ 41564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4"/>
              <a:gd name="connsiteY0" fmla="*/ 0 h 6870469"/>
              <a:gd name="connsiteX1" fmla="*/ 7356764 w 7356764"/>
              <a:gd name="connsiteY1" fmla="*/ 33252 h 6870469"/>
              <a:gd name="connsiteX2" fmla="*/ 7356763 w 7356764"/>
              <a:gd name="connsiteY2" fmla="*/ 6870469 h 6870469"/>
              <a:gd name="connsiteX3" fmla="*/ 0 w 7356764"/>
              <a:gd name="connsiteY3" fmla="*/ 6870469 h 6870469"/>
              <a:gd name="connsiteX4" fmla="*/ 2111432 w 7356764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7356763 w 7365077"/>
              <a:gd name="connsiteY2" fmla="*/ 6870469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4434969 w 7365077"/>
              <a:gd name="connsiteY2" fmla="*/ 6820462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5270787 w 7365077"/>
              <a:gd name="connsiteY2" fmla="*/ 6849037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5270787"/>
              <a:gd name="connsiteY0" fmla="*/ 0 h 6870469"/>
              <a:gd name="connsiteX1" fmla="*/ 4278977 w 5270787"/>
              <a:gd name="connsiteY1" fmla="*/ 273801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70787"/>
              <a:gd name="connsiteY0" fmla="*/ 0 h 6870469"/>
              <a:gd name="connsiteX1" fmla="*/ 5257670 w 5270787"/>
              <a:gd name="connsiteY1" fmla="*/ 16626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57670"/>
              <a:gd name="connsiteY0" fmla="*/ 0 h 6870469"/>
              <a:gd name="connsiteX1" fmla="*/ 5257670 w 5257670"/>
              <a:gd name="connsiteY1" fmla="*/ 16626 h 6870469"/>
              <a:gd name="connsiteX2" fmla="*/ 5192206 w 5257670"/>
              <a:gd name="connsiteY2" fmla="*/ 6677587 h 6870469"/>
              <a:gd name="connsiteX3" fmla="*/ 0 w 5257670"/>
              <a:gd name="connsiteY3" fmla="*/ 6870469 h 6870469"/>
              <a:gd name="connsiteX4" fmla="*/ 2111432 w 5257670"/>
              <a:gd name="connsiteY4" fmla="*/ 0 h 6870469"/>
              <a:gd name="connsiteX0" fmla="*/ 2111432 w 5277931"/>
              <a:gd name="connsiteY0" fmla="*/ 0 h 6877612"/>
              <a:gd name="connsiteX1" fmla="*/ 5257670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143370 w 5277931"/>
              <a:gd name="connsiteY1" fmla="*/ 12378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271957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3357432 w 5277931"/>
              <a:gd name="connsiteY1" fmla="*/ 59489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721638 w 5277931"/>
              <a:gd name="connsiteY1" fmla="*/ 50240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171569 w 5277931"/>
              <a:gd name="connsiteY1" fmla="*/ 873877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1677481 w 2171569"/>
              <a:gd name="connsiteY2" fmla="*/ 6556143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2163256 w 2171569"/>
              <a:gd name="connsiteY2" fmla="*/ 6856180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63256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066338 w 2164425"/>
              <a:gd name="connsiteY2" fmla="*/ 6799423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54829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098790 w 2151783"/>
              <a:gd name="connsiteY0" fmla="*/ 19092 h 6875272"/>
              <a:gd name="connsiteX1" fmla="*/ 2151783 w 2151783"/>
              <a:gd name="connsiteY1" fmla="*/ 0 h 6875272"/>
              <a:gd name="connsiteX2" fmla="*/ 2142187 w 2151783"/>
              <a:gd name="connsiteY2" fmla="*/ 6875272 h 6875272"/>
              <a:gd name="connsiteX3" fmla="*/ 0 w 2151783"/>
              <a:gd name="connsiteY3" fmla="*/ 6838995 h 6875272"/>
              <a:gd name="connsiteX4" fmla="*/ 2098790 w 2151783"/>
              <a:gd name="connsiteY4" fmla="*/ 19092 h 6875272"/>
              <a:gd name="connsiteX0" fmla="*/ 2107218 w 2160211"/>
              <a:gd name="connsiteY0" fmla="*/ 19092 h 6875272"/>
              <a:gd name="connsiteX1" fmla="*/ 2160211 w 2160211"/>
              <a:gd name="connsiteY1" fmla="*/ 0 h 6875272"/>
              <a:gd name="connsiteX2" fmla="*/ 2150615 w 2160211"/>
              <a:gd name="connsiteY2" fmla="*/ 6875272 h 6875272"/>
              <a:gd name="connsiteX3" fmla="*/ 0 w 2160211"/>
              <a:gd name="connsiteY3" fmla="*/ 6872705 h 6875272"/>
              <a:gd name="connsiteX4" fmla="*/ 2107218 w 2160211"/>
              <a:gd name="connsiteY4" fmla="*/ 19092 h 6875272"/>
              <a:gd name="connsiteX0" fmla="*/ 2107218 w 2168638"/>
              <a:gd name="connsiteY0" fmla="*/ 0 h 6856180"/>
              <a:gd name="connsiteX1" fmla="*/ 2168638 w 2168638"/>
              <a:gd name="connsiteY1" fmla="*/ 1978 h 6856180"/>
              <a:gd name="connsiteX2" fmla="*/ 2150615 w 2168638"/>
              <a:gd name="connsiteY2" fmla="*/ 6856180 h 6856180"/>
              <a:gd name="connsiteX3" fmla="*/ 0 w 2168638"/>
              <a:gd name="connsiteY3" fmla="*/ 6853613 h 6856180"/>
              <a:gd name="connsiteX4" fmla="*/ 2107218 w 2168638"/>
              <a:gd name="connsiteY4" fmla="*/ 0 h 6856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8638" h="6856180">
                <a:moveTo>
                  <a:pt x="2107218" y="0"/>
                </a:moveTo>
                <a:lnTo>
                  <a:pt x="2168638" y="1978"/>
                </a:lnTo>
                <a:cubicBezTo>
                  <a:pt x="2168638" y="2281050"/>
                  <a:pt x="2150615" y="4577108"/>
                  <a:pt x="2150615" y="6856180"/>
                </a:cubicBezTo>
                <a:lnTo>
                  <a:pt x="0" y="6853613"/>
                </a:lnTo>
                <a:lnTo>
                  <a:pt x="2107218" y="0"/>
                </a:lnTo>
                <a:close/>
              </a:path>
            </a:pathLst>
          </a:custGeom>
          <a:solidFill>
            <a:schemeClr val="bg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hangingPunct="0"/>
            <a:r>
              <a:rPr lang="fr-BE">
                <a:solidFill>
                  <a:srgbClr val="FFFFFF"/>
                </a:solidFill>
              </a:rPr>
              <a:t>    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auto">
          <a:xfrm>
            <a:off x="3503712" y="1222180"/>
            <a:ext cx="828092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EB61C7B-BCAA-8840-9F73-16DCDF14649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57034" y="1408974"/>
            <a:ext cx="3514680" cy="905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1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6393255" y="2195802"/>
            <a:ext cx="5031984" cy="4266622"/>
          </a:xfrm>
          <a:custGeom>
            <a:avLst/>
            <a:gdLst>
              <a:gd name="connsiteX0" fmla="*/ 0 w 5087403"/>
              <a:gd name="connsiteY0" fmla="*/ 0 h 4248150"/>
              <a:gd name="connsiteX1" fmla="*/ 5087403 w 5087403"/>
              <a:gd name="connsiteY1" fmla="*/ 0 h 4248150"/>
              <a:gd name="connsiteX2" fmla="*/ 5087403 w 5087403"/>
              <a:gd name="connsiteY2" fmla="*/ 4248150 h 4248150"/>
              <a:gd name="connsiteX3" fmla="*/ 0 w 5087403"/>
              <a:gd name="connsiteY3" fmla="*/ 4248150 h 4248150"/>
              <a:gd name="connsiteX4" fmla="*/ 0 w 5087403"/>
              <a:gd name="connsiteY4" fmla="*/ 0 h 4248150"/>
              <a:gd name="connsiteX0" fmla="*/ 0 w 5087403"/>
              <a:gd name="connsiteY0" fmla="*/ 0 h 4248150"/>
              <a:gd name="connsiteX1" fmla="*/ 5087403 w 5087403"/>
              <a:gd name="connsiteY1" fmla="*/ 0 h 4248150"/>
              <a:gd name="connsiteX2" fmla="*/ 5087403 w 5087403"/>
              <a:gd name="connsiteY2" fmla="*/ 4248150 h 4248150"/>
              <a:gd name="connsiteX3" fmla="*/ 665018 w 5087403"/>
              <a:gd name="connsiteY3" fmla="*/ 4220440 h 4248150"/>
              <a:gd name="connsiteX4" fmla="*/ 0 w 5087403"/>
              <a:gd name="connsiteY4" fmla="*/ 0 h 4248150"/>
              <a:gd name="connsiteX0" fmla="*/ 0 w 5087403"/>
              <a:gd name="connsiteY0" fmla="*/ 0 h 4248150"/>
              <a:gd name="connsiteX1" fmla="*/ 5087403 w 5087403"/>
              <a:gd name="connsiteY1" fmla="*/ 0 h 4248150"/>
              <a:gd name="connsiteX2" fmla="*/ 5087403 w 5087403"/>
              <a:gd name="connsiteY2" fmla="*/ 4248150 h 4248150"/>
              <a:gd name="connsiteX3" fmla="*/ 932873 w 5087403"/>
              <a:gd name="connsiteY3" fmla="*/ 4192731 h 4248150"/>
              <a:gd name="connsiteX4" fmla="*/ 0 w 5087403"/>
              <a:gd name="connsiteY4" fmla="*/ 0 h 4248150"/>
              <a:gd name="connsiteX0" fmla="*/ 0 w 5087403"/>
              <a:gd name="connsiteY0" fmla="*/ 0 h 4257386"/>
              <a:gd name="connsiteX1" fmla="*/ 5087403 w 5087403"/>
              <a:gd name="connsiteY1" fmla="*/ 0 h 4257386"/>
              <a:gd name="connsiteX2" fmla="*/ 5087403 w 5087403"/>
              <a:gd name="connsiteY2" fmla="*/ 4248150 h 4257386"/>
              <a:gd name="connsiteX3" fmla="*/ 720437 w 5087403"/>
              <a:gd name="connsiteY3" fmla="*/ 4257386 h 4257386"/>
              <a:gd name="connsiteX4" fmla="*/ 0 w 5087403"/>
              <a:gd name="connsiteY4" fmla="*/ 0 h 4257386"/>
              <a:gd name="connsiteX0" fmla="*/ 0 w 4902675"/>
              <a:gd name="connsiteY0" fmla="*/ 0 h 4266622"/>
              <a:gd name="connsiteX1" fmla="*/ 4902675 w 4902675"/>
              <a:gd name="connsiteY1" fmla="*/ 9236 h 4266622"/>
              <a:gd name="connsiteX2" fmla="*/ 4902675 w 4902675"/>
              <a:gd name="connsiteY2" fmla="*/ 4257386 h 4266622"/>
              <a:gd name="connsiteX3" fmla="*/ 535709 w 4902675"/>
              <a:gd name="connsiteY3" fmla="*/ 4266622 h 4266622"/>
              <a:gd name="connsiteX4" fmla="*/ 0 w 4902675"/>
              <a:gd name="connsiteY4" fmla="*/ 0 h 4266622"/>
              <a:gd name="connsiteX0" fmla="*/ 0 w 5059693"/>
              <a:gd name="connsiteY0" fmla="*/ 0 h 4257386"/>
              <a:gd name="connsiteX1" fmla="*/ 5059693 w 5059693"/>
              <a:gd name="connsiteY1" fmla="*/ 0 h 4257386"/>
              <a:gd name="connsiteX2" fmla="*/ 5059693 w 5059693"/>
              <a:gd name="connsiteY2" fmla="*/ 4248150 h 4257386"/>
              <a:gd name="connsiteX3" fmla="*/ 692727 w 5059693"/>
              <a:gd name="connsiteY3" fmla="*/ 4257386 h 4257386"/>
              <a:gd name="connsiteX4" fmla="*/ 0 w 5059693"/>
              <a:gd name="connsiteY4" fmla="*/ 0 h 4257386"/>
              <a:gd name="connsiteX0" fmla="*/ 0 w 5059693"/>
              <a:gd name="connsiteY0" fmla="*/ 0 h 4257386"/>
              <a:gd name="connsiteX1" fmla="*/ 5059693 w 5059693"/>
              <a:gd name="connsiteY1" fmla="*/ 0 h 4257386"/>
              <a:gd name="connsiteX2" fmla="*/ 5059693 w 5059693"/>
              <a:gd name="connsiteY2" fmla="*/ 4248150 h 4257386"/>
              <a:gd name="connsiteX3" fmla="*/ 692727 w 5059693"/>
              <a:gd name="connsiteY3" fmla="*/ 4257386 h 4257386"/>
              <a:gd name="connsiteX4" fmla="*/ 284637 w 5059693"/>
              <a:gd name="connsiteY4" fmla="*/ 1757362 h 4257386"/>
              <a:gd name="connsiteX5" fmla="*/ 0 w 5059693"/>
              <a:gd name="connsiteY5" fmla="*/ 0 h 4257386"/>
              <a:gd name="connsiteX0" fmla="*/ 0 w 5059693"/>
              <a:gd name="connsiteY0" fmla="*/ 0 h 4257386"/>
              <a:gd name="connsiteX1" fmla="*/ 5059693 w 5059693"/>
              <a:gd name="connsiteY1" fmla="*/ 0 h 4257386"/>
              <a:gd name="connsiteX2" fmla="*/ 5059693 w 5059693"/>
              <a:gd name="connsiteY2" fmla="*/ 4248150 h 4257386"/>
              <a:gd name="connsiteX3" fmla="*/ 692727 w 5059693"/>
              <a:gd name="connsiteY3" fmla="*/ 4257386 h 4257386"/>
              <a:gd name="connsiteX4" fmla="*/ 35255 w 5059693"/>
              <a:gd name="connsiteY4" fmla="*/ 1711180 h 4257386"/>
              <a:gd name="connsiteX5" fmla="*/ 0 w 5059693"/>
              <a:gd name="connsiteY5" fmla="*/ 0 h 4257386"/>
              <a:gd name="connsiteX0" fmla="*/ 0 w 5059693"/>
              <a:gd name="connsiteY0" fmla="*/ 0 h 4257386"/>
              <a:gd name="connsiteX1" fmla="*/ 5059693 w 5059693"/>
              <a:gd name="connsiteY1" fmla="*/ 0 h 4257386"/>
              <a:gd name="connsiteX2" fmla="*/ 5059693 w 5059693"/>
              <a:gd name="connsiteY2" fmla="*/ 4248150 h 4257386"/>
              <a:gd name="connsiteX3" fmla="*/ 858981 w 5059693"/>
              <a:gd name="connsiteY3" fmla="*/ 4257386 h 4257386"/>
              <a:gd name="connsiteX4" fmla="*/ 35255 w 5059693"/>
              <a:gd name="connsiteY4" fmla="*/ 1711180 h 4257386"/>
              <a:gd name="connsiteX5" fmla="*/ 0 w 5059693"/>
              <a:gd name="connsiteY5" fmla="*/ 0 h 4257386"/>
              <a:gd name="connsiteX0" fmla="*/ 0 w 5031984"/>
              <a:gd name="connsiteY0" fmla="*/ 0 h 4266622"/>
              <a:gd name="connsiteX1" fmla="*/ 5031984 w 5031984"/>
              <a:gd name="connsiteY1" fmla="*/ 9236 h 4266622"/>
              <a:gd name="connsiteX2" fmla="*/ 5031984 w 5031984"/>
              <a:gd name="connsiteY2" fmla="*/ 4257386 h 4266622"/>
              <a:gd name="connsiteX3" fmla="*/ 831272 w 5031984"/>
              <a:gd name="connsiteY3" fmla="*/ 4266622 h 4266622"/>
              <a:gd name="connsiteX4" fmla="*/ 7546 w 5031984"/>
              <a:gd name="connsiteY4" fmla="*/ 1720416 h 4266622"/>
              <a:gd name="connsiteX5" fmla="*/ 0 w 5031984"/>
              <a:gd name="connsiteY5" fmla="*/ 0 h 4266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31984" h="4266622">
                <a:moveTo>
                  <a:pt x="0" y="0"/>
                </a:moveTo>
                <a:lnTo>
                  <a:pt x="5031984" y="9236"/>
                </a:lnTo>
                <a:lnTo>
                  <a:pt x="5031984" y="4257386"/>
                </a:lnTo>
                <a:lnTo>
                  <a:pt x="831272" y="4266622"/>
                </a:lnTo>
                <a:lnTo>
                  <a:pt x="7546" y="1720416"/>
                </a:lnTo>
                <a:cubicBezTo>
                  <a:pt x="5031" y="1146944"/>
                  <a:pt x="2515" y="573472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766763" y="2205038"/>
            <a:ext cx="6437245" cy="4248305"/>
          </a:xfrm>
          <a:custGeom>
            <a:avLst/>
            <a:gdLst>
              <a:gd name="connsiteX0" fmla="*/ 0 w 6049317"/>
              <a:gd name="connsiteY0" fmla="*/ 0 h 4248305"/>
              <a:gd name="connsiteX1" fmla="*/ 6049317 w 6049317"/>
              <a:gd name="connsiteY1" fmla="*/ 0 h 4248305"/>
              <a:gd name="connsiteX2" fmla="*/ 6049317 w 6049317"/>
              <a:gd name="connsiteY2" fmla="*/ 4248305 h 4248305"/>
              <a:gd name="connsiteX3" fmla="*/ 0 w 6049317"/>
              <a:gd name="connsiteY3" fmla="*/ 4248305 h 4248305"/>
              <a:gd name="connsiteX4" fmla="*/ 0 w 6049317"/>
              <a:gd name="connsiteY4" fmla="*/ 0 h 4248305"/>
              <a:gd name="connsiteX0" fmla="*/ 0 w 6049317"/>
              <a:gd name="connsiteY0" fmla="*/ 0 h 4248305"/>
              <a:gd name="connsiteX1" fmla="*/ 5550553 w 6049317"/>
              <a:gd name="connsiteY1" fmla="*/ 18472 h 4248305"/>
              <a:gd name="connsiteX2" fmla="*/ 6049317 w 6049317"/>
              <a:gd name="connsiteY2" fmla="*/ 4248305 h 4248305"/>
              <a:gd name="connsiteX3" fmla="*/ 0 w 6049317"/>
              <a:gd name="connsiteY3" fmla="*/ 4248305 h 4248305"/>
              <a:gd name="connsiteX4" fmla="*/ 0 w 6049317"/>
              <a:gd name="connsiteY4" fmla="*/ 0 h 4248305"/>
              <a:gd name="connsiteX0" fmla="*/ 0 w 6243281"/>
              <a:gd name="connsiteY0" fmla="*/ 0 h 4248305"/>
              <a:gd name="connsiteX1" fmla="*/ 5550553 w 6243281"/>
              <a:gd name="connsiteY1" fmla="*/ 18472 h 4248305"/>
              <a:gd name="connsiteX2" fmla="*/ 6243281 w 6243281"/>
              <a:gd name="connsiteY2" fmla="*/ 4239069 h 4248305"/>
              <a:gd name="connsiteX3" fmla="*/ 0 w 6243281"/>
              <a:gd name="connsiteY3" fmla="*/ 4248305 h 4248305"/>
              <a:gd name="connsiteX4" fmla="*/ 0 w 6243281"/>
              <a:gd name="connsiteY4" fmla="*/ 0 h 4248305"/>
              <a:gd name="connsiteX0" fmla="*/ 0 w 6243281"/>
              <a:gd name="connsiteY0" fmla="*/ 0 h 4248305"/>
              <a:gd name="connsiteX1" fmla="*/ 5550553 w 6243281"/>
              <a:gd name="connsiteY1" fmla="*/ 18472 h 4248305"/>
              <a:gd name="connsiteX2" fmla="*/ 5818764 w 6243281"/>
              <a:gd name="connsiteY2" fmla="*/ 1701944 h 4248305"/>
              <a:gd name="connsiteX3" fmla="*/ 6243281 w 6243281"/>
              <a:gd name="connsiteY3" fmla="*/ 4239069 h 4248305"/>
              <a:gd name="connsiteX4" fmla="*/ 0 w 6243281"/>
              <a:gd name="connsiteY4" fmla="*/ 4248305 h 4248305"/>
              <a:gd name="connsiteX5" fmla="*/ 0 w 6243281"/>
              <a:gd name="connsiteY5" fmla="*/ 0 h 4248305"/>
              <a:gd name="connsiteX0" fmla="*/ 0 w 6243281"/>
              <a:gd name="connsiteY0" fmla="*/ 0 h 4248305"/>
              <a:gd name="connsiteX1" fmla="*/ 5550553 w 6243281"/>
              <a:gd name="connsiteY1" fmla="*/ 18472 h 4248305"/>
              <a:gd name="connsiteX2" fmla="*/ 5624800 w 6243281"/>
              <a:gd name="connsiteY2" fmla="*/ 1729653 h 4248305"/>
              <a:gd name="connsiteX3" fmla="*/ 6243281 w 6243281"/>
              <a:gd name="connsiteY3" fmla="*/ 4239069 h 4248305"/>
              <a:gd name="connsiteX4" fmla="*/ 0 w 6243281"/>
              <a:gd name="connsiteY4" fmla="*/ 4248305 h 4248305"/>
              <a:gd name="connsiteX5" fmla="*/ 0 w 6243281"/>
              <a:gd name="connsiteY5" fmla="*/ 0 h 4248305"/>
              <a:gd name="connsiteX0" fmla="*/ 0 w 6243281"/>
              <a:gd name="connsiteY0" fmla="*/ 0 h 4248305"/>
              <a:gd name="connsiteX1" fmla="*/ 5605971 w 6243281"/>
              <a:gd name="connsiteY1" fmla="*/ 18472 h 4248305"/>
              <a:gd name="connsiteX2" fmla="*/ 5624800 w 6243281"/>
              <a:gd name="connsiteY2" fmla="*/ 1729653 h 4248305"/>
              <a:gd name="connsiteX3" fmla="*/ 6243281 w 6243281"/>
              <a:gd name="connsiteY3" fmla="*/ 4239069 h 4248305"/>
              <a:gd name="connsiteX4" fmla="*/ 0 w 6243281"/>
              <a:gd name="connsiteY4" fmla="*/ 4248305 h 4248305"/>
              <a:gd name="connsiteX5" fmla="*/ 0 w 6243281"/>
              <a:gd name="connsiteY5" fmla="*/ 0 h 4248305"/>
              <a:gd name="connsiteX0" fmla="*/ 0 w 6437245"/>
              <a:gd name="connsiteY0" fmla="*/ 0 h 4248305"/>
              <a:gd name="connsiteX1" fmla="*/ 5605971 w 6437245"/>
              <a:gd name="connsiteY1" fmla="*/ 18472 h 4248305"/>
              <a:gd name="connsiteX2" fmla="*/ 5624800 w 6437245"/>
              <a:gd name="connsiteY2" fmla="*/ 1729653 h 4248305"/>
              <a:gd name="connsiteX3" fmla="*/ 6437245 w 6437245"/>
              <a:gd name="connsiteY3" fmla="*/ 4248305 h 4248305"/>
              <a:gd name="connsiteX4" fmla="*/ 0 w 6437245"/>
              <a:gd name="connsiteY4" fmla="*/ 4248305 h 4248305"/>
              <a:gd name="connsiteX5" fmla="*/ 0 w 6437245"/>
              <a:gd name="connsiteY5" fmla="*/ 0 h 4248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37245" h="4248305">
                <a:moveTo>
                  <a:pt x="0" y="0"/>
                </a:moveTo>
                <a:lnTo>
                  <a:pt x="5605971" y="18472"/>
                </a:lnTo>
                <a:lnTo>
                  <a:pt x="5624800" y="1729653"/>
                </a:lnTo>
                <a:lnTo>
                  <a:pt x="6437245" y="4248305"/>
                </a:lnTo>
                <a:lnTo>
                  <a:pt x="0" y="424830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642"/>
          <a:stretch/>
        </p:blipFill>
        <p:spPr>
          <a:xfrm>
            <a:off x="885040" y="2353452"/>
            <a:ext cx="581274" cy="576000"/>
          </a:xfrm>
          <a:prstGeom prst="ellipse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658475" cy="887413"/>
          </a:xfrm>
        </p:spPr>
        <p:txBody>
          <a:bodyPr/>
          <a:lstStyle/>
          <a:p>
            <a:r>
              <a:rPr lang="nl-BE" dirty="0"/>
              <a:t>Samenvatting van de studie en actiehefbomen  </a:t>
            </a:r>
            <a:br>
              <a:rPr lang="nl-BE" dirty="0"/>
            </a:br>
            <a:r>
              <a:rPr lang="nl-BE" dirty="0">
                <a:solidFill>
                  <a:srgbClr val="00B0F0"/>
                </a:solidFill>
              </a:rPr>
              <a:t>Spoorlopen</a:t>
            </a:r>
            <a:endParaRPr lang="fr-BE" dirty="0">
              <a:solidFill>
                <a:srgbClr val="00B0F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39E76-19B0-4CB4-842B-1223C757FE0D}" type="slidenum">
              <a:rPr lang="en-GB" altLang="en-US" b="0" smtClean="0">
                <a:solidFill>
                  <a:srgbClr val="000000"/>
                </a:solidFill>
              </a:rPr>
              <a:pPr/>
              <a:t>23</a:t>
            </a:fld>
            <a:endParaRPr lang="en-GB" altLang="en-US" b="0">
              <a:solidFill>
                <a:srgbClr val="000000"/>
              </a:solidFill>
            </a:endParaRPr>
          </a:p>
        </p:txBody>
      </p:sp>
      <p:graphicFrame>
        <p:nvGraphicFramePr>
          <p:cNvPr id="27" name="Chart 26"/>
          <p:cNvGraphicFramePr/>
          <p:nvPr>
            <p:extLst/>
          </p:nvPr>
        </p:nvGraphicFramePr>
        <p:xfrm>
          <a:off x="3996400" y="2300288"/>
          <a:ext cx="4791076" cy="3194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Rectangle 27"/>
          <p:cNvSpPr/>
          <p:nvPr/>
        </p:nvSpPr>
        <p:spPr>
          <a:xfrm>
            <a:off x="6741887" y="3250983"/>
            <a:ext cx="70089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45%</a:t>
            </a:r>
            <a:b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AF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168446" y="3780563"/>
            <a:ext cx="122104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55%</a:t>
            </a:r>
            <a:b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OT SAFE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440366" y="2441397"/>
            <a:ext cx="31905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hangingPunct="0"/>
            <a:r>
              <a:rPr lang="fr-BE" sz="2000" dirty="0" err="1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onscious</a:t>
            </a:r>
            <a:r>
              <a:rPr lang="fr-BE" sz="2000" dirty="0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dirty="0" err="1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onformers</a:t>
            </a:r>
            <a:r>
              <a:rPr lang="fr-BE" sz="2000" dirty="0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dirty="0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45</a:t>
            </a:r>
            <a:r>
              <a:rPr lang="fr-BE" dirty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)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559496" y="2441397"/>
            <a:ext cx="31989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hangingPunct="0"/>
            <a:r>
              <a:rPr lang="fr-BE" sz="2000" dirty="0" err="1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nconscious</a:t>
            </a:r>
            <a:r>
              <a:rPr lang="fr-BE" sz="2000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dirty="0" err="1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respassers</a:t>
            </a:r>
            <a:r>
              <a:rPr lang="fr-BE" sz="2000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8</a:t>
            </a:r>
            <a:r>
              <a:rPr lang="fr-BE" dirty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)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559496" y="4941168"/>
            <a:ext cx="38088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hangingPunct="0"/>
            <a:r>
              <a:rPr lang="fr-BE" sz="2000" dirty="0" err="1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belling</a:t>
            </a:r>
            <a:r>
              <a:rPr lang="fr-BE" sz="2000" dirty="0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dirty="0" err="1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sk</a:t>
            </a:r>
            <a:r>
              <a:rPr lang="fr-BE" sz="2000" dirty="0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dirty="0" err="1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akers</a:t>
            </a:r>
            <a:r>
              <a:rPr lang="fr-BE" sz="2000" dirty="0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dirty="0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32</a:t>
            </a:r>
            <a:r>
              <a:rPr lang="fr-BE" dirty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)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559496" y="3233012"/>
            <a:ext cx="304321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hangingPunct="0"/>
            <a:r>
              <a:rPr lang="fr-BE" sz="2000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ocial </a:t>
            </a:r>
            <a:r>
              <a:rPr lang="fr-BE" sz="2000" dirty="0" err="1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respassers</a:t>
            </a:r>
            <a:r>
              <a:rPr lang="fr-BE" sz="2000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15</a:t>
            </a:r>
            <a:r>
              <a:rPr lang="fr-BE" dirty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)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126691" y="3221453"/>
            <a:ext cx="2752100" cy="707886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ekomstige</a:t>
            </a:r>
            <a:r>
              <a:rPr lang="fr-BE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ctivering</a:t>
            </a:r>
            <a:r>
              <a:rPr lang="fr-BE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: </a:t>
            </a:r>
            <a:br>
              <a:rPr lang="fr-BE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mbassadeursrol</a:t>
            </a:r>
            <a:endParaRPr lang="fr-BE" sz="20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5" name="Down Arrow 34"/>
          <p:cNvSpPr/>
          <p:nvPr/>
        </p:nvSpPr>
        <p:spPr bwMode="auto">
          <a:xfrm>
            <a:off x="9263820" y="2924944"/>
            <a:ext cx="477838" cy="369163"/>
          </a:xfrm>
          <a:prstGeom prst="downArrow">
            <a:avLst/>
          </a:prstGeom>
          <a:solidFill>
            <a:srgbClr val="00B05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</a:rPr>
              <a:t>3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160085" y="4038807"/>
            <a:ext cx="1710726" cy="400110"/>
          </a:xfrm>
          <a:prstGeom prst="rect">
            <a:avLst/>
          </a:prstGeom>
          <a:solidFill>
            <a:schemeClr val="accent2"/>
          </a:solidFill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  <a:endParaRPr lang="fr-BE" sz="20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7" name="Down Arrow 36"/>
          <p:cNvSpPr/>
          <p:nvPr/>
        </p:nvSpPr>
        <p:spPr bwMode="auto">
          <a:xfrm>
            <a:off x="2776528" y="3708587"/>
            <a:ext cx="477838" cy="369163"/>
          </a:xfrm>
          <a:prstGeom prst="downArrow">
            <a:avLst/>
          </a:prstGeom>
          <a:solidFill>
            <a:srgbClr val="FF660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397401" y="5837202"/>
            <a:ext cx="1208729" cy="400110"/>
          </a:xfrm>
          <a:prstGeom prst="rect">
            <a:avLst/>
          </a:prstGeom>
          <a:solidFill>
            <a:schemeClr val="accent2"/>
          </a:solidFill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pressie</a:t>
            </a:r>
            <a:endParaRPr lang="fr-BE" sz="20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9" name="Down Arrow 38"/>
          <p:cNvSpPr/>
          <p:nvPr/>
        </p:nvSpPr>
        <p:spPr bwMode="auto">
          <a:xfrm>
            <a:off x="2762845" y="5522903"/>
            <a:ext cx="477838" cy="369163"/>
          </a:xfrm>
          <a:prstGeom prst="downArrow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412" y="3113707"/>
            <a:ext cx="572209" cy="576000"/>
          </a:xfrm>
          <a:prstGeom prst="ellipse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7897" y="4851446"/>
            <a:ext cx="575224" cy="576000"/>
          </a:xfrm>
          <a:prstGeom prst="ellipse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8590" y="2353452"/>
            <a:ext cx="578972" cy="576000"/>
          </a:xfrm>
          <a:prstGeom prst="ellipse">
            <a:avLst/>
          </a:prstGeom>
        </p:spPr>
      </p:pic>
      <p:pic>
        <p:nvPicPr>
          <p:cNvPr id="24" name="Picture 11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426484">
            <a:off x="10366803" y="902921"/>
            <a:ext cx="1114805" cy="1114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Straight Connector 6"/>
          <p:cNvCxnSpPr/>
          <p:nvPr/>
        </p:nvCxnSpPr>
        <p:spPr bwMode="auto">
          <a:xfrm>
            <a:off x="885040" y="4653136"/>
            <a:ext cx="411992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5513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4"/>
          <p:cNvSpPr/>
          <p:nvPr/>
        </p:nvSpPr>
        <p:spPr bwMode="auto">
          <a:xfrm>
            <a:off x="6393255" y="2205038"/>
            <a:ext cx="5031984" cy="1711180"/>
          </a:xfrm>
          <a:custGeom>
            <a:avLst/>
            <a:gdLst>
              <a:gd name="connsiteX0" fmla="*/ 0 w 5087403"/>
              <a:gd name="connsiteY0" fmla="*/ 0 h 4248150"/>
              <a:gd name="connsiteX1" fmla="*/ 5087403 w 5087403"/>
              <a:gd name="connsiteY1" fmla="*/ 0 h 4248150"/>
              <a:gd name="connsiteX2" fmla="*/ 5087403 w 5087403"/>
              <a:gd name="connsiteY2" fmla="*/ 4248150 h 4248150"/>
              <a:gd name="connsiteX3" fmla="*/ 0 w 5087403"/>
              <a:gd name="connsiteY3" fmla="*/ 4248150 h 4248150"/>
              <a:gd name="connsiteX4" fmla="*/ 0 w 5087403"/>
              <a:gd name="connsiteY4" fmla="*/ 0 h 4248150"/>
              <a:gd name="connsiteX0" fmla="*/ 0 w 5087403"/>
              <a:gd name="connsiteY0" fmla="*/ 0 h 4248150"/>
              <a:gd name="connsiteX1" fmla="*/ 5087403 w 5087403"/>
              <a:gd name="connsiteY1" fmla="*/ 0 h 4248150"/>
              <a:gd name="connsiteX2" fmla="*/ 5087403 w 5087403"/>
              <a:gd name="connsiteY2" fmla="*/ 4248150 h 4248150"/>
              <a:gd name="connsiteX3" fmla="*/ 665018 w 5087403"/>
              <a:gd name="connsiteY3" fmla="*/ 4220440 h 4248150"/>
              <a:gd name="connsiteX4" fmla="*/ 0 w 5087403"/>
              <a:gd name="connsiteY4" fmla="*/ 0 h 4248150"/>
              <a:gd name="connsiteX0" fmla="*/ 0 w 5087403"/>
              <a:gd name="connsiteY0" fmla="*/ 0 h 4248150"/>
              <a:gd name="connsiteX1" fmla="*/ 5087403 w 5087403"/>
              <a:gd name="connsiteY1" fmla="*/ 0 h 4248150"/>
              <a:gd name="connsiteX2" fmla="*/ 5087403 w 5087403"/>
              <a:gd name="connsiteY2" fmla="*/ 4248150 h 4248150"/>
              <a:gd name="connsiteX3" fmla="*/ 932873 w 5087403"/>
              <a:gd name="connsiteY3" fmla="*/ 4192731 h 4248150"/>
              <a:gd name="connsiteX4" fmla="*/ 0 w 5087403"/>
              <a:gd name="connsiteY4" fmla="*/ 0 h 4248150"/>
              <a:gd name="connsiteX0" fmla="*/ 0 w 5087403"/>
              <a:gd name="connsiteY0" fmla="*/ 0 h 4257386"/>
              <a:gd name="connsiteX1" fmla="*/ 5087403 w 5087403"/>
              <a:gd name="connsiteY1" fmla="*/ 0 h 4257386"/>
              <a:gd name="connsiteX2" fmla="*/ 5087403 w 5087403"/>
              <a:gd name="connsiteY2" fmla="*/ 4248150 h 4257386"/>
              <a:gd name="connsiteX3" fmla="*/ 720437 w 5087403"/>
              <a:gd name="connsiteY3" fmla="*/ 4257386 h 4257386"/>
              <a:gd name="connsiteX4" fmla="*/ 0 w 5087403"/>
              <a:gd name="connsiteY4" fmla="*/ 0 h 4257386"/>
              <a:gd name="connsiteX0" fmla="*/ 0 w 4902675"/>
              <a:gd name="connsiteY0" fmla="*/ 0 h 4266622"/>
              <a:gd name="connsiteX1" fmla="*/ 4902675 w 4902675"/>
              <a:gd name="connsiteY1" fmla="*/ 9236 h 4266622"/>
              <a:gd name="connsiteX2" fmla="*/ 4902675 w 4902675"/>
              <a:gd name="connsiteY2" fmla="*/ 4257386 h 4266622"/>
              <a:gd name="connsiteX3" fmla="*/ 535709 w 4902675"/>
              <a:gd name="connsiteY3" fmla="*/ 4266622 h 4266622"/>
              <a:gd name="connsiteX4" fmla="*/ 0 w 4902675"/>
              <a:gd name="connsiteY4" fmla="*/ 0 h 4266622"/>
              <a:gd name="connsiteX0" fmla="*/ 0 w 5059693"/>
              <a:gd name="connsiteY0" fmla="*/ 0 h 4257386"/>
              <a:gd name="connsiteX1" fmla="*/ 5059693 w 5059693"/>
              <a:gd name="connsiteY1" fmla="*/ 0 h 4257386"/>
              <a:gd name="connsiteX2" fmla="*/ 5059693 w 5059693"/>
              <a:gd name="connsiteY2" fmla="*/ 4248150 h 4257386"/>
              <a:gd name="connsiteX3" fmla="*/ 692727 w 5059693"/>
              <a:gd name="connsiteY3" fmla="*/ 4257386 h 4257386"/>
              <a:gd name="connsiteX4" fmla="*/ 0 w 5059693"/>
              <a:gd name="connsiteY4" fmla="*/ 0 h 4257386"/>
              <a:gd name="connsiteX0" fmla="*/ 0 w 5059693"/>
              <a:gd name="connsiteY0" fmla="*/ 0 h 4257386"/>
              <a:gd name="connsiteX1" fmla="*/ 5059693 w 5059693"/>
              <a:gd name="connsiteY1" fmla="*/ 0 h 4257386"/>
              <a:gd name="connsiteX2" fmla="*/ 5059693 w 5059693"/>
              <a:gd name="connsiteY2" fmla="*/ 4248150 h 4257386"/>
              <a:gd name="connsiteX3" fmla="*/ 692727 w 5059693"/>
              <a:gd name="connsiteY3" fmla="*/ 4257386 h 4257386"/>
              <a:gd name="connsiteX4" fmla="*/ 284637 w 5059693"/>
              <a:gd name="connsiteY4" fmla="*/ 1757362 h 4257386"/>
              <a:gd name="connsiteX5" fmla="*/ 0 w 5059693"/>
              <a:gd name="connsiteY5" fmla="*/ 0 h 4257386"/>
              <a:gd name="connsiteX0" fmla="*/ 0 w 5059693"/>
              <a:gd name="connsiteY0" fmla="*/ 0 h 4257386"/>
              <a:gd name="connsiteX1" fmla="*/ 5059693 w 5059693"/>
              <a:gd name="connsiteY1" fmla="*/ 0 h 4257386"/>
              <a:gd name="connsiteX2" fmla="*/ 5059693 w 5059693"/>
              <a:gd name="connsiteY2" fmla="*/ 4248150 h 4257386"/>
              <a:gd name="connsiteX3" fmla="*/ 692727 w 5059693"/>
              <a:gd name="connsiteY3" fmla="*/ 4257386 h 4257386"/>
              <a:gd name="connsiteX4" fmla="*/ 35255 w 5059693"/>
              <a:gd name="connsiteY4" fmla="*/ 1711180 h 4257386"/>
              <a:gd name="connsiteX5" fmla="*/ 0 w 5059693"/>
              <a:gd name="connsiteY5" fmla="*/ 0 h 4257386"/>
              <a:gd name="connsiteX0" fmla="*/ 0 w 5059693"/>
              <a:gd name="connsiteY0" fmla="*/ 0 h 4257386"/>
              <a:gd name="connsiteX1" fmla="*/ 5059693 w 5059693"/>
              <a:gd name="connsiteY1" fmla="*/ 0 h 4257386"/>
              <a:gd name="connsiteX2" fmla="*/ 5059693 w 5059693"/>
              <a:gd name="connsiteY2" fmla="*/ 4248150 h 4257386"/>
              <a:gd name="connsiteX3" fmla="*/ 858981 w 5059693"/>
              <a:gd name="connsiteY3" fmla="*/ 4257386 h 4257386"/>
              <a:gd name="connsiteX4" fmla="*/ 35255 w 5059693"/>
              <a:gd name="connsiteY4" fmla="*/ 1711180 h 4257386"/>
              <a:gd name="connsiteX5" fmla="*/ 0 w 5059693"/>
              <a:gd name="connsiteY5" fmla="*/ 0 h 4257386"/>
              <a:gd name="connsiteX0" fmla="*/ 0 w 5031984"/>
              <a:gd name="connsiteY0" fmla="*/ 0 h 4266622"/>
              <a:gd name="connsiteX1" fmla="*/ 5031984 w 5031984"/>
              <a:gd name="connsiteY1" fmla="*/ 9236 h 4266622"/>
              <a:gd name="connsiteX2" fmla="*/ 5031984 w 5031984"/>
              <a:gd name="connsiteY2" fmla="*/ 4257386 h 4266622"/>
              <a:gd name="connsiteX3" fmla="*/ 831272 w 5031984"/>
              <a:gd name="connsiteY3" fmla="*/ 4266622 h 4266622"/>
              <a:gd name="connsiteX4" fmla="*/ 7546 w 5031984"/>
              <a:gd name="connsiteY4" fmla="*/ 1720416 h 4266622"/>
              <a:gd name="connsiteX5" fmla="*/ 0 w 5031984"/>
              <a:gd name="connsiteY5" fmla="*/ 0 h 4266622"/>
              <a:gd name="connsiteX0" fmla="*/ 0 w 5031984"/>
              <a:gd name="connsiteY0" fmla="*/ 0 h 4257386"/>
              <a:gd name="connsiteX1" fmla="*/ 5031984 w 5031984"/>
              <a:gd name="connsiteY1" fmla="*/ 9236 h 4257386"/>
              <a:gd name="connsiteX2" fmla="*/ 5031984 w 5031984"/>
              <a:gd name="connsiteY2" fmla="*/ 4257386 h 4257386"/>
              <a:gd name="connsiteX3" fmla="*/ 7546 w 5031984"/>
              <a:gd name="connsiteY3" fmla="*/ 1720416 h 4257386"/>
              <a:gd name="connsiteX4" fmla="*/ 0 w 5031984"/>
              <a:gd name="connsiteY4" fmla="*/ 0 h 4257386"/>
              <a:gd name="connsiteX0" fmla="*/ 0 w 5031984"/>
              <a:gd name="connsiteY0" fmla="*/ 0 h 1720416"/>
              <a:gd name="connsiteX1" fmla="*/ 5031984 w 5031984"/>
              <a:gd name="connsiteY1" fmla="*/ 9236 h 1720416"/>
              <a:gd name="connsiteX2" fmla="*/ 5031984 w 5031984"/>
              <a:gd name="connsiteY2" fmla="*/ 1117023 h 1720416"/>
              <a:gd name="connsiteX3" fmla="*/ 7546 w 5031984"/>
              <a:gd name="connsiteY3" fmla="*/ 1720416 h 1720416"/>
              <a:gd name="connsiteX4" fmla="*/ 0 w 5031984"/>
              <a:gd name="connsiteY4" fmla="*/ 0 h 1720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31984" h="1720416">
                <a:moveTo>
                  <a:pt x="0" y="0"/>
                </a:moveTo>
                <a:lnTo>
                  <a:pt x="5031984" y="9236"/>
                </a:lnTo>
                <a:lnTo>
                  <a:pt x="5031984" y="1117023"/>
                </a:lnTo>
                <a:lnTo>
                  <a:pt x="7546" y="1720416"/>
                </a:lnTo>
                <a:cubicBezTo>
                  <a:pt x="5031" y="1146944"/>
                  <a:pt x="2515" y="573472"/>
                  <a:pt x="0" y="0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" name="Rectangle 2"/>
          <p:cNvSpPr/>
          <p:nvPr/>
        </p:nvSpPr>
        <p:spPr bwMode="auto">
          <a:xfrm>
            <a:off x="766763" y="2205039"/>
            <a:ext cx="10661324" cy="4257542"/>
          </a:xfrm>
          <a:custGeom>
            <a:avLst/>
            <a:gdLst>
              <a:gd name="connsiteX0" fmla="*/ 0 w 6049317"/>
              <a:gd name="connsiteY0" fmla="*/ 0 h 4248305"/>
              <a:gd name="connsiteX1" fmla="*/ 6049317 w 6049317"/>
              <a:gd name="connsiteY1" fmla="*/ 0 h 4248305"/>
              <a:gd name="connsiteX2" fmla="*/ 6049317 w 6049317"/>
              <a:gd name="connsiteY2" fmla="*/ 4248305 h 4248305"/>
              <a:gd name="connsiteX3" fmla="*/ 0 w 6049317"/>
              <a:gd name="connsiteY3" fmla="*/ 4248305 h 4248305"/>
              <a:gd name="connsiteX4" fmla="*/ 0 w 6049317"/>
              <a:gd name="connsiteY4" fmla="*/ 0 h 4248305"/>
              <a:gd name="connsiteX0" fmla="*/ 0 w 6049317"/>
              <a:gd name="connsiteY0" fmla="*/ 0 h 4248305"/>
              <a:gd name="connsiteX1" fmla="*/ 5550553 w 6049317"/>
              <a:gd name="connsiteY1" fmla="*/ 18472 h 4248305"/>
              <a:gd name="connsiteX2" fmla="*/ 6049317 w 6049317"/>
              <a:gd name="connsiteY2" fmla="*/ 4248305 h 4248305"/>
              <a:gd name="connsiteX3" fmla="*/ 0 w 6049317"/>
              <a:gd name="connsiteY3" fmla="*/ 4248305 h 4248305"/>
              <a:gd name="connsiteX4" fmla="*/ 0 w 6049317"/>
              <a:gd name="connsiteY4" fmla="*/ 0 h 4248305"/>
              <a:gd name="connsiteX0" fmla="*/ 0 w 6243281"/>
              <a:gd name="connsiteY0" fmla="*/ 0 h 4248305"/>
              <a:gd name="connsiteX1" fmla="*/ 5550553 w 6243281"/>
              <a:gd name="connsiteY1" fmla="*/ 18472 h 4248305"/>
              <a:gd name="connsiteX2" fmla="*/ 6243281 w 6243281"/>
              <a:gd name="connsiteY2" fmla="*/ 4239069 h 4248305"/>
              <a:gd name="connsiteX3" fmla="*/ 0 w 6243281"/>
              <a:gd name="connsiteY3" fmla="*/ 4248305 h 4248305"/>
              <a:gd name="connsiteX4" fmla="*/ 0 w 6243281"/>
              <a:gd name="connsiteY4" fmla="*/ 0 h 4248305"/>
              <a:gd name="connsiteX0" fmla="*/ 0 w 6243281"/>
              <a:gd name="connsiteY0" fmla="*/ 0 h 4248305"/>
              <a:gd name="connsiteX1" fmla="*/ 5550553 w 6243281"/>
              <a:gd name="connsiteY1" fmla="*/ 18472 h 4248305"/>
              <a:gd name="connsiteX2" fmla="*/ 5818764 w 6243281"/>
              <a:gd name="connsiteY2" fmla="*/ 1701944 h 4248305"/>
              <a:gd name="connsiteX3" fmla="*/ 6243281 w 6243281"/>
              <a:gd name="connsiteY3" fmla="*/ 4239069 h 4248305"/>
              <a:gd name="connsiteX4" fmla="*/ 0 w 6243281"/>
              <a:gd name="connsiteY4" fmla="*/ 4248305 h 4248305"/>
              <a:gd name="connsiteX5" fmla="*/ 0 w 6243281"/>
              <a:gd name="connsiteY5" fmla="*/ 0 h 4248305"/>
              <a:gd name="connsiteX0" fmla="*/ 0 w 6243281"/>
              <a:gd name="connsiteY0" fmla="*/ 0 h 4248305"/>
              <a:gd name="connsiteX1" fmla="*/ 5550553 w 6243281"/>
              <a:gd name="connsiteY1" fmla="*/ 18472 h 4248305"/>
              <a:gd name="connsiteX2" fmla="*/ 5624800 w 6243281"/>
              <a:gd name="connsiteY2" fmla="*/ 1729653 h 4248305"/>
              <a:gd name="connsiteX3" fmla="*/ 6243281 w 6243281"/>
              <a:gd name="connsiteY3" fmla="*/ 4239069 h 4248305"/>
              <a:gd name="connsiteX4" fmla="*/ 0 w 6243281"/>
              <a:gd name="connsiteY4" fmla="*/ 4248305 h 4248305"/>
              <a:gd name="connsiteX5" fmla="*/ 0 w 6243281"/>
              <a:gd name="connsiteY5" fmla="*/ 0 h 4248305"/>
              <a:gd name="connsiteX0" fmla="*/ 0 w 6243281"/>
              <a:gd name="connsiteY0" fmla="*/ 0 h 4248305"/>
              <a:gd name="connsiteX1" fmla="*/ 5605971 w 6243281"/>
              <a:gd name="connsiteY1" fmla="*/ 18472 h 4248305"/>
              <a:gd name="connsiteX2" fmla="*/ 5624800 w 6243281"/>
              <a:gd name="connsiteY2" fmla="*/ 1729653 h 4248305"/>
              <a:gd name="connsiteX3" fmla="*/ 6243281 w 6243281"/>
              <a:gd name="connsiteY3" fmla="*/ 4239069 h 4248305"/>
              <a:gd name="connsiteX4" fmla="*/ 0 w 6243281"/>
              <a:gd name="connsiteY4" fmla="*/ 4248305 h 4248305"/>
              <a:gd name="connsiteX5" fmla="*/ 0 w 6243281"/>
              <a:gd name="connsiteY5" fmla="*/ 0 h 4248305"/>
              <a:gd name="connsiteX0" fmla="*/ 0 w 6437245"/>
              <a:gd name="connsiteY0" fmla="*/ 0 h 4248305"/>
              <a:gd name="connsiteX1" fmla="*/ 5605971 w 6437245"/>
              <a:gd name="connsiteY1" fmla="*/ 18472 h 4248305"/>
              <a:gd name="connsiteX2" fmla="*/ 5624800 w 6437245"/>
              <a:gd name="connsiteY2" fmla="*/ 1729653 h 4248305"/>
              <a:gd name="connsiteX3" fmla="*/ 6437245 w 6437245"/>
              <a:gd name="connsiteY3" fmla="*/ 4248305 h 4248305"/>
              <a:gd name="connsiteX4" fmla="*/ 0 w 6437245"/>
              <a:gd name="connsiteY4" fmla="*/ 4248305 h 4248305"/>
              <a:gd name="connsiteX5" fmla="*/ 0 w 6437245"/>
              <a:gd name="connsiteY5" fmla="*/ 0 h 4248305"/>
              <a:gd name="connsiteX0" fmla="*/ 0 w 6437245"/>
              <a:gd name="connsiteY0" fmla="*/ 0 h 4248305"/>
              <a:gd name="connsiteX1" fmla="*/ 5605971 w 6437245"/>
              <a:gd name="connsiteY1" fmla="*/ 18472 h 4248305"/>
              <a:gd name="connsiteX2" fmla="*/ 5624800 w 6437245"/>
              <a:gd name="connsiteY2" fmla="*/ 1729653 h 4248305"/>
              <a:gd name="connsiteX3" fmla="*/ 6188219 w 6437245"/>
              <a:gd name="connsiteY3" fmla="*/ 3493798 h 4248305"/>
              <a:gd name="connsiteX4" fmla="*/ 6437245 w 6437245"/>
              <a:gd name="connsiteY4" fmla="*/ 4248305 h 4248305"/>
              <a:gd name="connsiteX5" fmla="*/ 0 w 6437245"/>
              <a:gd name="connsiteY5" fmla="*/ 4248305 h 4248305"/>
              <a:gd name="connsiteX6" fmla="*/ 0 w 6437245"/>
              <a:gd name="connsiteY6" fmla="*/ 0 h 4248305"/>
              <a:gd name="connsiteX0" fmla="*/ 0 w 10686328"/>
              <a:gd name="connsiteY0" fmla="*/ 0 h 4248305"/>
              <a:gd name="connsiteX1" fmla="*/ 5605971 w 10686328"/>
              <a:gd name="connsiteY1" fmla="*/ 18472 h 4248305"/>
              <a:gd name="connsiteX2" fmla="*/ 5624800 w 10686328"/>
              <a:gd name="connsiteY2" fmla="*/ 1729653 h 4248305"/>
              <a:gd name="connsiteX3" fmla="*/ 10686328 w 10686328"/>
              <a:gd name="connsiteY3" fmla="*/ 1110816 h 4248305"/>
              <a:gd name="connsiteX4" fmla="*/ 6437245 w 10686328"/>
              <a:gd name="connsiteY4" fmla="*/ 4248305 h 4248305"/>
              <a:gd name="connsiteX5" fmla="*/ 0 w 10686328"/>
              <a:gd name="connsiteY5" fmla="*/ 4248305 h 4248305"/>
              <a:gd name="connsiteX6" fmla="*/ 0 w 10686328"/>
              <a:gd name="connsiteY6" fmla="*/ 0 h 4248305"/>
              <a:gd name="connsiteX0" fmla="*/ 0 w 10686328"/>
              <a:gd name="connsiteY0" fmla="*/ 0 h 4257542"/>
              <a:gd name="connsiteX1" fmla="*/ 5605971 w 10686328"/>
              <a:gd name="connsiteY1" fmla="*/ 18472 h 4257542"/>
              <a:gd name="connsiteX2" fmla="*/ 5624800 w 10686328"/>
              <a:gd name="connsiteY2" fmla="*/ 1729653 h 4257542"/>
              <a:gd name="connsiteX3" fmla="*/ 10686328 w 10686328"/>
              <a:gd name="connsiteY3" fmla="*/ 1110816 h 4257542"/>
              <a:gd name="connsiteX4" fmla="*/ 10649027 w 10686328"/>
              <a:gd name="connsiteY4" fmla="*/ 4257542 h 4257542"/>
              <a:gd name="connsiteX5" fmla="*/ 0 w 10686328"/>
              <a:gd name="connsiteY5" fmla="*/ 4248305 h 4257542"/>
              <a:gd name="connsiteX6" fmla="*/ 0 w 10686328"/>
              <a:gd name="connsiteY6" fmla="*/ 0 h 4257542"/>
              <a:gd name="connsiteX0" fmla="*/ 0 w 10667855"/>
              <a:gd name="connsiteY0" fmla="*/ 0 h 4257542"/>
              <a:gd name="connsiteX1" fmla="*/ 5605971 w 10667855"/>
              <a:gd name="connsiteY1" fmla="*/ 18472 h 4257542"/>
              <a:gd name="connsiteX2" fmla="*/ 5624800 w 10667855"/>
              <a:gd name="connsiteY2" fmla="*/ 1729653 h 4257542"/>
              <a:gd name="connsiteX3" fmla="*/ 10667855 w 10667855"/>
              <a:gd name="connsiteY3" fmla="*/ 1120053 h 4257542"/>
              <a:gd name="connsiteX4" fmla="*/ 10649027 w 10667855"/>
              <a:gd name="connsiteY4" fmla="*/ 4257542 h 4257542"/>
              <a:gd name="connsiteX5" fmla="*/ 0 w 10667855"/>
              <a:gd name="connsiteY5" fmla="*/ 4248305 h 4257542"/>
              <a:gd name="connsiteX6" fmla="*/ 0 w 10667855"/>
              <a:gd name="connsiteY6" fmla="*/ 0 h 4257542"/>
              <a:gd name="connsiteX0" fmla="*/ 0 w 10661324"/>
              <a:gd name="connsiteY0" fmla="*/ 0 h 4257542"/>
              <a:gd name="connsiteX1" fmla="*/ 5605971 w 10661324"/>
              <a:gd name="connsiteY1" fmla="*/ 18472 h 4257542"/>
              <a:gd name="connsiteX2" fmla="*/ 5624800 w 10661324"/>
              <a:gd name="connsiteY2" fmla="*/ 1729653 h 4257542"/>
              <a:gd name="connsiteX3" fmla="*/ 10661324 w 10661324"/>
              <a:gd name="connsiteY3" fmla="*/ 1002487 h 4257542"/>
              <a:gd name="connsiteX4" fmla="*/ 10649027 w 10661324"/>
              <a:gd name="connsiteY4" fmla="*/ 4257542 h 4257542"/>
              <a:gd name="connsiteX5" fmla="*/ 0 w 10661324"/>
              <a:gd name="connsiteY5" fmla="*/ 4248305 h 4257542"/>
              <a:gd name="connsiteX6" fmla="*/ 0 w 10661324"/>
              <a:gd name="connsiteY6" fmla="*/ 0 h 4257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61324" h="4257542">
                <a:moveTo>
                  <a:pt x="0" y="0"/>
                </a:moveTo>
                <a:lnTo>
                  <a:pt x="5605971" y="18472"/>
                </a:lnTo>
                <a:lnTo>
                  <a:pt x="5624800" y="1729653"/>
                </a:lnTo>
                <a:lnTo>
                  <a:pt x="10661324" y="1002487"/>
                </a:lnTo>
                <a:lnTo>
                  <a:pt x="10649027" y="4257542"/>
                </a:lnTo>
                <a:lnTo>
                  <a:pt x="0" y="424830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Samenvatting van de studie en actiehefbomen  </a:t>
            </a:r>
            <a:br>
              <a:rPr lang="nl-BE" dirty="0"/>
            </a:br>
            <a:r>
              <a:rPr lang="nl-BE" dirty="0">
                <a:solidFill>
                  <a:srgbClr val="00B0F0"/>
                </a:solidFill>
              </a:rPr>
              <a:t>Gedrag aan overwegen</a:t>
            </a:r>
            <a:endParaRPr lang="fr-BE" dirty="0">
              <a:solidFill>
                <a:srgbClr val="00B0F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39E76-19B0-4CB4-842B-1223C757FE0D}" type="slidenum">
              <a:rPr lang="en-GB" altLang="en-US" b="0" smtClean="0">
                <a:solidFill>
                  <a:srgbClr val="000000"/>
                </a:solidFill>
              </a:rPr>
              <a:pPr/>
              <a:t>24</a:t>
            </a:fld>
            <a:endParaRPr lang="en-GB" altLang="en-US" b="0">
              <a:solidFill>
                <a:srgbClr val="000000"/>
              </a:solidFill>
            </a:endParaRPr>
          </a:p>
        </p:txBody>
      </p:sp>
      <p:graphicFrame>
        <p:nvGraphicFramePr>
          <p:cNvPr id="27" name="Chart 26"/>
          <p:cNvGraphicFramePr/>
          <p:nvPr>
            <p:extLst/>
          </p:nvPr>
        </p:nvGraphicFramePr>
        <p:xfrm>
          <a:off x="3996400" y="2300288"/>
          <a:ext cx="4791076" cy="3194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Rectangle 27"/>
          <p:cNvSpPr/>
          <p:nvPr/>
        </p:nvSpPr>
        <p:spPr>
          <a:xfrm>
            <a:off x="6628579" y="2986533"/>
            <a:ext cx="70089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3%</a:t>
            </a:r>
            <a:b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AF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168446" y="3780563"/>
            <a:ext cx="122104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77%</a:t>
            </a:r>
            <a:b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0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OT SAF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673733" y="2416809"/>
            <a:ext cx="26940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0" hangingPunct="0"/>
            <a:r>
              <a:rPr lang="fr-BE" sz="2000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angerous </a:t>
            </a:r>
            <a:r>
              <a:rPr lang="fr-BE" sz="2000" dirty="0" err="1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ers</a:t>
            </a:r>
            <a:r>
              <a:rPr lang="fr-BE" sz="2000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dirty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18%)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673733" y="5013776"/>
            <a:ext cx="317574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0" hangingPunct="0"/>
            <a:r>
              <a:rPr lang="fr-BE" sz="2000" dirty="0" err="1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portunistic</a:t>
            </a:r>
            <a:r>
              <a:rPr lang="fr-BE" sz="2000" dirty="0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dirty="0" err="1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ossers</a:t>
            </a:r>
            <a:r>
              <a:rPr lang="fr-BE" sz="2000" dirty="0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dirty="0" smtClean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fr-BE" dirty="0">
                <a:solidFill>
                  <a:schemeClr val="accent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35%)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673733" y="3196225"/>
            <a:ext cx="300178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0" hangingPunct="0"/>
            <a:r>
              <a:rPr lang="fr-BE" sz="2000" dirty="0" err="1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Unconscious</a:t>
            </a:r>
            <a:r>
              <a:rPr lang="fr-BE" sz="2000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dirty="0" err="1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ossers</a:t>
            </a:r>
            <a:r>
              <a:rPr lang="fr-BE" sz="2000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dirty="0" smtClean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24</a:t>
            </a:r>
            <a:r>
              <a:rPr lang="fr-BE" dirty="0">
                <a:solidFill>
                  <a:srgbClr val="FF66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%)</a:t>
            </a:r>
          </a:p>
        </p:txBody>
      </p:sp>
      <p:pic>
        <p:nvPicPr>
          <p:cNvPr id="17" name="Afbeelding 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488488" y="801013"/>
            <a:ext cx="1272294" cy="136751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3075" y="3108280"/>
            <a:ext cx="576233" cy="576000"/>
          </a:xfrm>
          <a:prstGeom prst="ellipse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5275" y="4925831"/>
            <a:ext cx="571025" cy="576000"/>
          </a:xfrm>
          <a:prstGeom prst="ellipse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2199" y="2328864"/>
            <a:ext cx="572369" cy="576000"/>
          </a:xfrm>
          <a:prstGeom prst="ellipse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61"/>
          <a:stretch/>
        </p:blipFill>
        <p:spPr>
          <a:xfrm>
            <a:off x="961535" y="2328864"/>
            <a:ext cx="576885" cy="576000"/>
          </a:xfrm>
          <a:prstGeom prst="ellipse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8355917" y="2416809"/>
            <a:ext cx="21325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eaLnBrk="0" hangingPunct="0"/>
            <a:r>
              <a:rPr lang="fr-BE" sz="2000" dirty="0" err="1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isk</a:t>
            </a:r>
            <a:r>
              <a:rPr lang="fr-BE" sz="2000" dirty="0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dirty="0" err="1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voiders</a:t>
            </a:r>
            <a:r>
              <a:rPr lang="fr-BE" sz="2000" dirty="0" smtClean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dirty="0">
                <a:solidFill>
                  <a:srgbClr val="00B05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23%)</a:t>
            </a:r>
          </a:p>
        </p:txBody>
      </p:sp>
      <p:cxnSp>
        <p:nvCxnSpPr>
          <p:cNvPr id="24" name="Straight Connector 23"/>
          <p:cNvCxnSpPr/>
          <p:nvPr/>
        </p:nvCxnSpPr>
        <p:spPr bwMode="auto">
          <a:xfrm>
            <a:off x="885040" y="4653136"/>
            <a:ext cx="411992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Rectangle 24"/>
          <p:cNvSpPr/>
          <p:nvPr/>
        </p:nvSpPr>
        <p:spPr>
          <a:xfrm>
            <a:off x="2160085" y="4038807"/>
            <a:ext cx="1710726" cy="400110"/>
          </a:xfrm>
          <a:prstGeom prst="rect">
            <a:avLst/>
          </a:prstGeom>
          <a:solidFill>
            <a:schemeClr val="accent2"/>
          </a:solidFill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  <a:endParaRPr lang="fr-BE" sz="20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6" name="Down Arrow 25"/>
          <p:cNvSpPr/>
          <p:nvPr/>
        </p:nvSpPr>
        <p:spPr bwMode="auto">
          <a:xfrm>
            <a:off x="2776528" y="3708587"/>
            <a:ext cx="477838" cy="369163"/>
          </a:xfrm>
          <a:prstGeom prst="downArrow">
            <a:avLst/>
          </a:prstGeom>
          <a:solidFill>
            <a:srgbClr val="FF660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397402" y="5837202"/>
            <a:ext cx="1208729" cy="400110"/>
          </a:xfrm>
          <a:prstGeom prst="rect">
            <a:avLst/>
          </a:prstGeom>
          <a:solidFill>
            <a:schemeClr val="accent2"/>
          </a:solidFill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pressie</a:t>
            </a:r>
            <a:endParaRPr lang="fr-BE" sz="20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1" name="Down Arrow 40"/>
          <p:cNvSpPr/>
          <p:nvPr/>
        </p:nvSpPr>
        <p:spPr bwMode="auto">
          <a:xfrm>
            <a:off x="2762845" y="5522903"/>
            <a:ext cx="477838" cy="369163"/>
          </a:xfrm>
          <a:prstGeom prst="downArrow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</a:rPr>
              <a:t>2</a:t>
            </a:r>
          </a:p>
        </p:txBody>
      </p:sp>
      <p:sp>
        <p:nvSpPr>
          <p:cNvPr id="42" name="Rectangle 41"/>
          <p:cNvSpPr/>
          <p:nvPr/>
        </p:nvSpPr>
        <p:spPr>
          <a:xfrm>
            <a:off x="8155547" y="3221453"/>
            <a:ext cx="2694392" cy="707886"/>
          </a:xfrm>
          <a:prstGeom prst="rect">
            <a:avLst/>
          </a:prstGeom>
          <a:solidFill>
            <a:srgbClr val="00B050"/>
          </a:solidFill>
        </p:spPr>
        <p:txBody>
          <a:bodyPr wrap="none">
            <a:spAutoFit/>
          </a:bodyPr>
          <a:lstStyle/>
          <a:p>
            <a:pPr eaLnBrk="0" hangingPunct="0"/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ekomstige</a:t>
            </a:r>
            <a:r>
              <a:rPr lang="fr-BE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ctivering</a:t>
            </a:r>
            <a:r>
              <a:rPr lang="fr-BE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eaLnBrk="0" hangingPunct="0"/>
            <a:r>
              <a:rPr lang="fr-BE" sz="2000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mbassadeursrol</a:t>
            </a:r>
            <a:endParaRPr lang="fr-BE" sz="20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3" name="Down Arrow 42"/>
          <p:cNvSpPr/>
          <p:nvPr/>
        </p:nvSpPr>
        <p:spPr bwMode="auto">
          <a:xfrm>
            <a:off x="9263820" y="2924944"/>
            <a:ext cx="477838" cy="369163"/>
          </a:xfrm>
          <a:prstGeom prst="downArrow">
            <a:avLst/>
          </a:prstGeom>
          <a:solidFill>
            <a:srgbClr val="00B05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77153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40" grpId="0" animBg="1"/>
      <p:bldP spid="41" grpId="0" animBg="1"/>
      <p:bldP spid="42" grpId="0" animBg="1"/>
      <p:bldP spid="4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 bwMode="auto">
          <a:xfrm>
            <a:off x="6096000" y="3284539"/>
            <a:ext cx="1008112" cy="2485159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 flipH="1">
            <a:off x="6076896" y="2312793"/>
            <a:ext cx="2880320" cy="1008633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 flipH="1">
            <a:off x="2999656" y="3284539"/>
            <a:ext cx="3096344" cy="396927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Oval 9"/>
          <p:cNvSpPr/>
          <p:nvPr/>
        </p:nvSpPr>
        <p:spPr>
          <a:xfrm>
            <a:off x="4575244" y="1763516"/>
            <a:ext cx="2753816" cy="2753816"/>
          </a:xfrm>
          <a:prstGeom prst="ellipse">
            <a:avLst/>
          </a:prstGeom>
          <a:solidFill>
            <a:srgbClr val="0070C0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2400" dirty="0" err="1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eiligheid</a:t>
            </a:r>
            <a: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 het</a:t>
            </a:r>
            <a:b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400" dirty="0" err="1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oorwegdomein</a:t>
            </a:r>
            <a:endParaRPr lang="fr-BE" sz="2400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2063007" y="2672976"/>
            <a:ext cx="1945138" cy="1945138"/>
          </a:xfrm>
          <a:prstGeom prst="ellipse">
            <a:avLst/>
          </a:prstGeom>
          <a:solidFill>
            <a:srgbClr val="FB8605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VENTIE </a:t>
            </a:r>
          </a:p>
        </p:txBody>
      </p:sp>
      <p:sp>
        <p:nvSpPr>
          <p:cNvPr id="12" name="Oval 11"/>
          <p:cNvSpPr/>
          <p:nvPr/>
        </p:nvSpPr>
        <p:spPr>
          <a:xfrm>
            <a:off x="7967663" y="1340223"/>
            <a:ext cx="1945138" cy="1945138"/>
          </a:xfrm>
          <a:prstGeom prst="ellipse">
            <a:avLst/>
          </a:prstGeom>
          <a:solidFill>
            <a:srgbClr val="FB8605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PRESSIE</a:t>
            </a:r>
          </a:p>
        </p:txBody>
      </p:sp>
      <p:sp>
        <p:nvSpPr>
          <p:cNvPr id="13" name="Oval 12"/>
          <p:cNvSpPr/>
          <p:nvPr/>
        </p:nvSpPr>
        <p:spPr>
          <a:xfrm>
            <a:off x="6096000" y="4723510"/>
            <a:ext cx="1945138" cy="1945138"/>
          </a:xfrm>
          <a:prstGeom prst="ellipse">
            <a:avLst/>
          </a:prstGeom>
          <a:solidFill>
            <a:srgbClr val="FB8605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Multidisciplinaire aanpak</a:t>
            </a:r>
            <a:endParaRPr lang="fr-BE" dirty="0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62104" y="6453343"/>
            <a:ext cx="590549" cy="252413"/>
          </a:xfrm>
        </p:spPr>
        <p:txBody>
          <a:bodyPr/>
          <a:lstStyle/>
          <a:p>
            <a:r>
              <a:rPr lang="en-GB" altLang="en-US" b="0" dirty="0">
                <a:solidFill>
                  <a:srgbClr val="000000"/>
                </a:solidFill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42674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ED6AC03-CD79-0C49-96A7-EFCEBCEA31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5949" y="58670"/>
            <a:ext cx="2540659" cy="17141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Nationaal Actieplan Railspect  </a:t>
            </a:r>
            <a:br>
              <a:rPr lang="nl-BE" dirty="0"/>
            </a:br>
            <a:r>
              <a:rPr lang="nl-BE" sz="2400" b="0" dirty="0"/>
              <a:t>Samen sterk tegen risicovol gedrag op het spoorwegdomein</a:t>
            </a:r>
            <a:endParaRPr lang="fr-BE" sz="18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539E76-19B0-4CB4-842B-1223C757FE0D}" type="slidenum">
              <a:rPr lang="en-GB" altLang="en-US" b="0" smtClean="0">
                <a:solidFill>
                  <a:srgbClr val="000000"/>
                </a:solidFill>
              </a:rPr>
              <a:pPr/>
              <a:t>26</a:t>
            </a:fld>
            <a:endParaRPr lang="en-GB" altLang="en-US" b="0">
              <a:solidFill>
                <a:srgbClr val="000000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085977370"/>
              </p:ext>
            </p:extLst>
          </p:nvPr>
        </p:nvGraphicFramePr>
        <p:xfrm>
          <a:off x="780103" y="1358106"/>
          <a:ext cx="9453830" cy="60150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Rounded Rectangle 7"/>
          <p:cNvSpPr/>
          <p:nvPr/>
        </p:nvSpPr>
        <p:spPr bwMode="auto">
          <a:xfrm>
            <a:off x="3359696" y="5445225"/>
            <a:ext cx="4464496" cy="659219"/>
          </a:xfrm>
          <a:prstGeom prst="roundRect">
            <a:avLst/>
          </a:prstGeom>
          <a:solidFill>
            <a:schemeClr val="accent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fr-BE" dirty="0" err="1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frabel</a:t>
            </a:r>
            <a:endParaRPr lang="fr-BE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8369882" y="5434077"/>
            <a:ext cx="1758566" cy="659219"/>
          </a:xfrm>
          <a:prstGeom prst="roundRect">
            <a:avLst/>
          </a:prstGeom>
          <a:solidFill>
            <a:schemeClr val="accent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fr-BE" dirty="0" err="1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curail</a:t>
            </a:r>
            <a:r>
              <a:rPr lang="fr-BE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 </a:t>
            </a:r>
            <a:br>
              <a:rPr lang="fr-BE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C, </a:t>
            </a:r>
            <a:r>
              <a:rPr lang="fr-BE" dirty="0" err="1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litie</a:t>
            </a:r>
            <a:endParaRPr lang="fr-BE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71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338099" y="6453336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smtClean="0"/>
              <a:pPr/>
              <a:t>27</a:t>
            </a:fld>
            <a:endParaRPr lang="en-GB" altLang="en-US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6096000" y="2997219"/>
            <a:ext cx="1008112" cy="2485159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 flipH="1">
            <a:off x="6076896" y="2025473"/>
            <a:ext cx="2880320" cy="1008633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 flipH="1">
            <a:off x="2999656" y="2997219"/>
            <a:ext cx="3096344" cy="396927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Oval 9"/>
          <p:cNvSpPr/>
          <p:nvPr/>
        </p:nvSpPr>
        <p:spPr>
          <a:xfrm>
            <a:off x="4575244" y="1476196"/>
            <a:ext cx="2753816" cy="2753816"/>
          </a:xfrm>
          <a:prstGeom prst="ellipse">
            <a:avLst/>
          </a:prstGeom>
          <a:solidFill>
            <a:srgbClr val="0070C0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2400" dirty="0" err="1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eiligheid</a:t>
            </a:r>
            <a: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 het</a:t>
            </a:r>
            <a:b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400" dirty="0" err="1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oorwegdomein</a:t>
            </a:r>
            <a:endParaRPr lang="fr-BE" sz="2400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2063007" y="2385656"/>
            <a:ext cx="1945138" cy="194513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VENTIE </a:t>
            </a:r>
          </a:p>
        </p:txBody>
      </p:sp>
      <p:sp>
        <p:nvSpPr>
          <p:cNvPr id="12" name="Oval 11"/>
          <p:cNvSpPr/>
          <p:nvPr/>
        </p:nvSpPr>
        <p:spPr>
          <a:xfrm>
            <a:off x="7967663" y="1052903"/>
            <a:ext cx="1945138" cy="194513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PRESSIE</a:t>
            </a:r>
          </a:p>
        </p:txBody>
      </p:sp>
      <p:sp>
        <p:nvSpPr>
          <p:cNvPr id="13" name="Oval 12"/>
          <p:cNvSpPr/>
          <p:nvPr/>
        </p:nvSpPr>
        <p:spPr>
          <a:xfrm>
            <a:off x="5903489" y="4243679"/>
            <a:ext cx="2330160" cy="2330160"/>
          </a:xfrm>
          <a:prstGeom prst="ellipse">
            <a:avLst/>
          </a:prstGeom>
          <a:solidFill>
            <a:srgbClr val="FB8605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24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</a:p>
        </p:txBody>
      </p:sp>
    </p:spTree>
    <p:extLst>
      <p:ext uri="{BB962C8B-B14F-4D97-AF65-F5344CB8AC3E}">
        <p14:creationId xmlns:p14="http://schemas.microsoft.com/office/powerpoint/2010/main" val="388028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/>
          <p:cNvCxnSpPr/>
          <p:nvPr/>
        </p:nvCxnSpPr>
        <p:spPr bwMode="auto">
          <a:xfrm>
            <a:off x="775211" y="549094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>
            <a:off x="775211" y="5922992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6" name="Rectangle 5"/>
          <p:cNvSpPr/>
          <p:nvPr/>
        </p:nvSpPr>
        <p:spPr bwMode="auto">
          <a:xfrm>
            <a:off x="381001" y="6321426"/>
            <a:ext cx="1638300" cy="252413"/>
          </a:xfrm>
          <a:prstGeom prst="rect">
            <a:avLst/>
          </a:prstGeom>
          <a:solidFill>
            <a:schemeClr val="bg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Aankondiging van het Nationaal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Actieplan </a:t>
            </a:r>
            <a:r>
              <a:rPr lang="nl-BE" dirty="0"/>
              <a:t>Railspect</a:t>
            </a:r>
            <a:br>
              <a:rPr lang="nl-BE" dirty="0"/>
            </a:br>
            <a:endParaRPr lang="fr-BE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b="0" smtClean="0"/>
              <a:pPr/>
              <a:t>28</a:t>
            </a:fld>
            <a:endParaRPr lang="en-GB" altLang="en-US" b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75210" y="2204145"/>
            <a:ext cx="10656001" cy="4167187"/>
          </a:xfrm>
          <a:noFill/>
          <a:ln>
            <a:noFill/>
          </a:ln>
        </p:spPr>
        <p:txBody>
          <a:bodyPr/>
          <a:lstStyle/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GROEP	</a:t>
            </a:r>
            <a:r>
              <a:rPr lang="nl-BE" dirty="0" smtClean="0"/>
              <a:t>Burgers, </a:t>
            </a:r>
            <a:r>
              <a:rPr lang="nl-BE" dirty="0"/>
              <a:t>pers, procureurs, Securail, politie, ...</a:t>
            </a:r>
          </a:p>
          <a:p>
            <a:pPr fontAlgn="t"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STELLINGEN</a:t>
            </a:r>
            <a:r>
              <a:rPr lang="nl-BE" dirty="0"/>
              <a:t>	1. </a:t>
            </a:r>
            <a:r>
              <a:rPr lang="nl-BE" dirty="0" smtClean="0"/>
              <a:t>INFORMEREN: </a:t>
            </a:r>
            <a:r>
              <a:rPr lang="nl-BE" dirty="0"/>
              <a:t>cijfers 2018, studie over het gedrag, maatschappelijk </a:t>
            </a:r>
            <a:r>
              <a:rPr lang="nl-BE" dirty="0" smtClean="0"/>
              <a:t>probleem</a:t>
            </a:r>
          </a:p>
          <a:p>
            <a:pPr fontAlgn="t">
              <a:spcAft>
                <a:spcPts val="1200"/>
              </a:spcAft>
              <a:tabLst>
                <a:tab pos="1968500" algn="l"/>
              </a:tabLst>
            </a:pPr>
            <a:r>
              <a:rPr lang="nl-BE" dirty="0"/>
              <a:t>	</a:t>
            </a:r>
            <a:r>
              <a:rPr lang="nl-BE" dirty="0" smtClean="0"/>
              <a:t>2</a:t>
            </a:r>
            <a:r>
              <a:rPr lang="nl-BE" dirty="0"/>
              <a:t>. </a:t>
            </a:r>
            <a:r>
              <a:rPr lang="nl-BE" dirty="0" smtClean="0"/>
              <a:t>AANZETTEN TOT ACTIE: </a:t>
            </a:r>
            <a:r>
              <a:rPr lang="nl-BE" dirty="0"/>
              <a:t>elke stakeholder kan zijn steentje bijdragen</a:t>
            </a:r>
          </a:p>
          <a:p>
            <a:pPr fontAlgn="t"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HEFBOOM</a:t>
            </a:r>
            <a:r>
              <a:rPr lang="nl-BE" dirty="0" smtClean="0"/>
              <a:t>      	Infrabel </a:t>
            </a:r>
            <a:r>
              <a:rPr lang="nl-BE" dirty="0"/>
              <a:t>kan dit maatschappelijk fenomeen niet alleen aanpakken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ROJECTEN</a:t>
            </a:r>
            <a:r>
              <a:rPr lang="nl-BE" dirty="0" smtClean="0"/>
              <a:t>     	Een persconferentie </a:t>
            </a:r>
            <a:r>
              <a:rPr lang="nl-BE" dirty="0"/>
              <a:t>om onze Nationaal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	Actieplan </a:t>
            </a:r>
            <a:r>
              <a:rPr lang="nl-BE" dirty="0" err="1"/>
              <a:t>Railspect</a:t>
            </a:r>
            <a:r>
              <a:rPr lang="nl-BE" dirty="0"/>
              <a:t> </a:t>
            </a:r>
            <a:r>
              <a:rPr lang="nl-BE" dirty="0" smtClean="0"/>
              <a:t>voor </a:t>
            </a:r>
            <a:r>
              <a:rPr lang="nl-BE" dirty="0"/>
              <a:t>te stellen in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	aanwezigheid </a:t>
            </a:r>
            <a:r>
              <a:rPr lang="nl-BE" dirty="0"/>
              <a:t>van de stakeholders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LANNING</a:t>
            </a:r>
            <a:r>
              <a:rPr lang="nl-BE" dirty="0" smtClean="0"/>
              <a:t>      	Maart 2019 </a:t>
            </a:r>
            <a:endParaRPr lang="nl-BE" dirty="0"/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WAAR</a:t>
            </a:r>
            <a:r>
              <a:rPr lang="nl-BE" dirty="0" smtClean="0"/>
              <a:t>            	Nationaal</a:t>
            </a:r>
            <a:endParaRPr lang="nl-BE" dirty="0"/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775211" y="213285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Oval 17"/>
          <p:cNvSpPr/>
          <p:nvPr/>
        </p:nvSpPr>
        <p:spPr>
          <a:xfrm>
            <a:off x="7674408" y="166268"/>
            <a:ext cx="1316477" cy="1304724"/>
          </a:xfrm>
          <a:prstGeom prst="ellipse">
            <a:avLst/>
          </a:prstGeom>
          <a:solidFill>
            <a:schemeClr val="accent2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14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9264352" y="305426"/>
            <a:ext cx="2153198" cy="1128528"/>
            <a:chOff x="9264352" y="305426"/>
            <a:chExt cx="2153198" cy="1128528"/>
          </a:xfrm>
        </p:grpSpPr>
        <p:sp>
          <p:nvSpPr>
            <p:cNvPr id="7" name="Rectangle 6"/>
            <p:cNvSpPr/>
            <p:nvPr/>
          </p:nvSpPr>
          <p:spPr bwMode="auto">
            <a:xfrm>
              <a:off x="9264352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AN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10001773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FEB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10739194" y="305426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AAR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 bwMode="auto">
            <a:xfrm>
              <a:off x="9264352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APRIL</a:t>
              </a: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10001773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E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3" name="Rectangle 22"/>
            <p:cNvSpPr/>
            <p:nvPr/>
          </p:nvSpPr>
          <p:spPr bwMode="auto">
            <a:xfrm>
              <a:off x="10739194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JUN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9264352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ULI</a:t>
              </a:r>
            </a:p>
          </p:txBody>
        </p:sp>
        <p:sp>
          <p:nvSpPr>
            <p:cNvPr id="25" name="Rectangle 24"/>
            <p:cNvSpPr/>
            <p:nvPr/>
          </p:nvSpPr>
          <p:spPr bwMode="auto">
            <a:xfrm>
              <a:off x="10001773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AUG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10739194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SEP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9264352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OKT</a:t>
              </a: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10001773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NOV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10739194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DEC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cxnSp>
        <p:nvCxnSpPr>
          <p:cNvPr id="31" name="Straight Connector 30"/>
          <p:cNvCxnSpPr/>
          <p:nvPr/>
        </p:nvCxnSpPr>
        <p:spPr bwMode="auto">
          <a:xfrm>
            <a:off x="775211" y="260033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/>
          <p:nvPr/>
        </p:nvCxnSpPr>
        <p:spPr bwMode="auto">
          <a:xfrm>
            <a:off x="775211" y="393305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/>
        </p:nvCxnSpPr>
        <p:spPr bwMode="auto">
          <a:xfrm>
            <a:off x="775211" y="505889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14344" name="Picture 8" descr="Afbeeldingsresultaat voor belgium 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7723" y="5540349"/>
            <a:ext cx="680968" cy="552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Straight Connector 29"/>
          <p:cNvCxnSpPr/>
          <p:nvPr/>
        </p:nvCxnSpPr>
        <p:spPr bwMode="auto">
          <a:xfrm>
            <a:off x="775211" y="350100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14342" name="Picture 6" descr="Afbeeldingsresultaat voor microphones conference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28248" y="4104457"/>
            <a:ext cx="3854509" cy="2780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182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nl-BE" dirty="0"/>
              <a:t>Sensibiliseringscampagne voor </a:t>
            </a:r>
            <a:br>
              <a:rPr lang="nl-BE" dirty="0"/>
            </a:br>
            <a:r>
              <a:rPr lang="nl-BE" dirty="0"/>
              <a:t>meer veiligheid aan overwegen</a:t>
            </a:r>
            <a:r>
              <a:rPr lang="nl-BE" dirty="0">
                <a:solidFill>
                  <a:srgbClr val="00B0F0"/>
                </a:solidFill>
              </a:rPr>
              <a:t/>
            </a:r>
            <a:br>
              <a:rPr lang="nl-BE" dirty="0">
                <a:solidFill>
                  <a:srgbClr val="00B0F0"/>
                </a:solidFill>
              </a:rPr>
            </a:br>
            <a:endParaRPr lang="fr-BE" dirty="0">
              <a:solidFill>
                <a:srgbClr val="00B0F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b="0" smtClean="0"/>
              <a:pPr/>
              <a:t>29</a:t>
            </a:fld>
            <a:endParaRPr lang="en-GB" altLang="en-US" b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66763" y="2264368"/>
            <a:ext cx="11425237" cy="4043362"/>
          </a:xfrm>
          <a:noFill/>
          <a:ln>
            <a:noFill/>
          </a:ln>
        </p:spPr>
        <p:txBody>
          <a:bodyPr/>
          <a:lstStyle/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GROEP</a:t>
            </a:r>
            <a:r>
              <a:rPr lang="nl-BE" dirty="0"/>
              <a:t>	</a:t>
            </a:r>
            <a:r>
              <a:rPr lang="fr-BE" i="1" dirty="0" smtClean="0"/>
              <a:t>Dangerous </a:t>
            </a:r>
            <a:r>
              <a:rPr lang="fr-BE" i="1" dirty="0" err="1" smtClean="0"/>
              <a:t>doers</a:t>
            </a:r>
            <a:r>
              <a:rPr lang="nl-BE" i="1" dirty="0" smtClean="0"/>
              <a:t>:</a:t>
            </a:r>
            <a:r>
              <a:rPr lang="nl-BE" dirty="0" smtClean="0"/>
              <a:t> </a:t>
            </a:r>
            <a:r>
              <a:rPr lang="nl-BE" dirty="0"/>
              <a:t>Smartphone zombies (Vlaamse jongeren)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/>
              <a:t>	</a:t>
            </a:r>
            <a:r>
              <a:rPr lang="fr-BE" i="1" dirty="0" err="1" smtClean="0"/>
              <a:t>Unconscious</a:t>
            </a:r>
            <a:r>
              <a:rPr lang="fr-BE" i="1" dirty="0" smtClean="0"/>
              <a:t> </a:t>
            </a:r>
            <a:r>
              <a:rPr lang="fr-BE" i="1" dirty="0" err="1" smtClean="0"/>
              <a:t>crossers</a:t>
            </a:r>
            <a:r>
              <a:rPr lang="nl-BE" dirty="0" smtClean="0"/>
              <a:t>: </a:t>
            </a:r>
            <a:r>
              <a:rPr lang="nl-BE" dirty="0"/>
              <a:t>Vlaamse vrouwen tussen 45 en 54 jaar</a:t>
            </a:r>
          </a:p>
          <a:p>
            <a:pPr fontAlgn="t"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STELLINGEN	</a:t>
            </a:r>
            <a:r>
              <a:rPr lang="nl-BE" dirty="0" smtClean="0"/>
              <a:t>Sensibiliseren over </a:t>
            </a:r>
            <a:r>
              <a:rPr lang="nl-BE" dirty="0"/>
              <a:t>de risico’s en gevolgen van hun gedrag</a:t>
            </a:r>
          </a:p>
          <a:p>
            <a:pPr fontAlgn="t"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HEFBOOM</a:t>
            </a:r>
            <a:r>
              <a:rPr lang="nl-BE" dirty="0"/>
              <a:t>	</a:t>
            </a:r>
            <a:r>
              <a:rPr lang="nl-BE" dirty="0" smtClean="0"/>
              <a:t>Emoties – verhaal vertellen</a:t>
            </a:r>
            <a:endParaRPr lang="nl-BE" dirty="0"/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ROJECTEN</a:t>
            </a:r>
            <a:r>
              <a:rPr lang="nl-BE" dirty="0"/>
              <a:t>	</a:t>
            </a:r>
            <a:r>
              <a:rPr lang="nl-BE" dirty="0" smtClean="0"/>
              <a:t>Sensibiliseringscampagne</a:t>
            </a:r>
            <a:endParaRPr lang="nl-BE" dirty="0"/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LANNING</a:t>
            </a:r>
            <a:r>
              <a:rPr lang="nl-BE" dirty="0"/>
              <a:t>	</a:t>
            </a:r>
            <a:r>
              <a:rPr lang="nl-BE" dirty="0" smtClean="0"/>
              <a:t>Maart – april 2019 </a:t>
            </a:r>
            <a:br>
              <a:rPr lang="nl-BE" dirty="0" smtClean="0"/>
            </a:br>
            <a:r>
              <a:rPr lang="nl-BE" dirty="0" smtClean="0"/>
              <a:t>	(</a:t>
            </a:r>
            <a:r>
              <a:rPr lang="nl-BE" dirty="0"/>
              <a:t>kick-off na aankondiging van het Actieplan)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WAAR</a:t>
            </a:r>
            <a:r>
              <a:rPr lang="nl-BE" dirty="0"/>
              <a:t>	</a:t>
            </a:r>
            <a:r>
              <a:rPr lang="nl-BE" dirty="0" smtClean="0"/>
              <a:t>Nationaal</a:t>
            </a:r>
            <a:endParaRPr lang="nl-BE" dirty="0"/>
          </a:p>
          <a:p>
            <a:pPr>
              <a:spcAft>
                <a:spcPts val="1200"/>
              </a:spcAft>
            </a:pPr>
            <a:endParaRPr lang="en-GB" dirty="0"/>
          </a:p>
          <a:p>
            <a:pPr>
              <a:spcAft>
                <a:spcPts val="1200"/>
              </a:spcAft>
            </a:pPr>
            <a:endParaRPr lang="fr-FR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381001" y="6321426"/>
            <a:ext cx="1638300" cy="252413"/>
          </a:xfrm>
          <a:prstGeom prst="rect">
            <a:avLst/>
          </a:prstGeom>
          <a:solidFill>
            <a:schemeClr val="bg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34" name="Straight Connector 33"/>
          <p:cNvCxnSpPr/>
          <p:nvPr/>
        </p:nvCxnSpPr>
        <p:spPr bwMode="auto">
          <a:xfrm>
            <a:off x="775211" y="220486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>
            <a:off x="775211" y="3096392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>
            <a:off x="775211" y="357301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/>
          <p:cNvCxnSpPr/>
          <p:nvPr/>
        </p:nvCxnSpPr>
        <p:spPr bwMode="auto">
          <a:xfrm>
            <a:off x="775211" y="400506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>
            <a:off x="775211" y="448168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>
            <a:off x="775211" y="523834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/>
        </p:nvCxnSpPr>
        <p:spPr bwMode="auto">
          <a:xfrm>
            <a:off x="775211" y="5670392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69"/>
          <a:stretch/>
        </p:blipFill>
        <p:spPr>
          <a:xfrm>
            <a:off x="7248128" y="3717032"/>
            <a:ext cx="4943872" cy="3140968"/>
          </a:xfrm>
          <a:prstGeom prst="rect">
            <a:avLst/>
          </a:prstGeom>
        </p:spPr>
      </p:pic>
      <p:pic>
        <p:nvPicPr>
          <p:cNvPr id="41" name="Picture 8" descr="Afbeeldingsresultaat voor belgium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829013" y="5287719"/>
            <a:ext cx="682811" cy="554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Oval 41">
            <a:extLst>
              <a:ext uri="{FF2B5EF4-FFF2-40B4-BE49-F238E27FC236}">
                <a16:creationId xmlns:a16="http://schemas.microsoft.com/office/drawing/2014/main" id="{AB6BF45B-6903-4D41-8FC0-C127F6A008B9}"/>
              </a:ext>
            </a:extLst>
          </p:cNvPr>
          <p:cNvSpPr/>
          <p:nvPr/>
        </p:nvSpPr>
        <p:spPr>
          <a:xfrm>
            <a:off x="7674408" y="166268"/>
            <a:ext cx="1316477" cy="1304724"/>
          </a:xfrm>
          <a:prstGeom prst="ellipse">
            <a:avLst/>
          </a:prstGeom>
          <a:solidFill>
            <a:schemeClr val="accent2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14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03D1445-AF08-CB47-AD69-ECA0A4340605}"/>
              </a:ext>
            </a:extLst>
          </p:cNvPr>
          <p:cNvGrpSpPr/>
          <p:nvPr/>
        </p:nvGrpSpPr>
        <p:grpSpPr>
          <a:xfrm>
            <a:off x="9264352" y="305426"/>
            <a:ext cx="2153198" cy="1128528"/>
            <a:chOff x="9264352" y="305426"/>
            <a:chExt cx="2153198" cy="1128528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654B61C8-84F2-F846-B227-7363098F658D}"/>
                </a:ext>
              </a:extLst>
            </p:cNvPr>
            <p:cNvSpPr/>
            <p:nvPr/>
          </p:nvSpPr>
          <p:spPr bwMode="auto">
            <a:xfrm>
              <a:off x="9264352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AN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E2AFB40-0F84-E14C-99B3-12BE41C9C58E}"/>
                </a:ext>
              </a:extLst>
            </p:cNvPr>
            <p:cNvSpPr/>
            <p:nvPr/>
          </p:nvSpPr>
          <p:spPr bwMode="auto">
            <a:xfrm>
              <a:off x="10001773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FEB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ED80B3B-4BCA-BF46-B53D-6891BAE62C51}"/>
                </a:ext>
              </a:extLst>
            </p:cNvPr>
            <p:cNvSpPr/>
            <p:nvPr/>
          </p:nvSpPr>
          <p:spPr bwMode="auto">
            <a:xfrm>
              <a:off x="10739194" y="305426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AAR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CD49388-9B11-CA48-9415-05D5F3F4C6C9}"/>
                </a:ext>
              </a:extLst>
            </p:cNvPr>
            <p:cNvSpPr/>
            <p:nvPr/>
          </p:nvSpPr>
          <p:spPr bwMode="auto">
            <a:xfrm>
              <a:off x="9264352" y="602735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APRIL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52DEE5B0-249B-1D49-B515-4A27BE396DE3}"/>
                </a:ext>
              </a:extLst>
            </p:cNvPr>
            <p:cNvSpPr/>
            <p:nvPr/>
          </p:nvSpPr>
          <p:spPr bwMode="auto">
            <a:xfrm>
              <a:off x="10001773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E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22EC627-32E0-8A42-8A78-9DBD51C116C0}"/>
                </a:ext>
              </a:extLst>
            </p:cNvPr>
            <p:cNvSpPr/>
            <p:nvPr/>
          </p:nvSpPr>
          <p:spPr bwMode="auto">
            <a:xfrm>
              <a:off x="10739194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JUN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979EFD9-E2A4-6D4A-B7E2-BFBE6F85BB2D}"/>
                </a:ext>
              </a:extLst>
            </p:cNvPr>
            <p:cNvSpPr/>
            <p:nvPr/>
          </p:nvSpPr>
          <p:spPr bwMode="auto">
            <a:xfrm>
              <a:off x="9264352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ULI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738A48AC-FC73-EA41-B07C-69BC2804AACE}"/>
                </a:ext>
              </a:extLst>
            </p:cNvPr>
            <p:cNvSpPr/>
            <p:nvPr/>
          </p:nvSpPr>
          <p:spPr bwMode="auto">
            <a:xfrm>
              <a:off x="10001773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AUG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E19F702C-5A9D-7E4C-AF7E-4D6FD369C278}"/>
                </a:ext>
              </a:extLst>
            </p:cNvPr>
            <p:cNvSpPr/>
            <p:nvPr/>
          </p:nvSpPr>
          <p:spPr bwMode="auto">
            <a:xfrm>
              <a:off x="10739194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SEP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6A49654-F4B2-414C-9638-92B961CD458D}"/>
                </a:ext>
              </a:extLst>
            </p:cNvPr>
            <p:cNvSpPr/>
            <p:nvPr/>
          </p:nvSpPr>
          <p:spPr bwMode="auto">
            <a:xfrm>
              <a:off x="9264352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OK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6CEACBC-A8A7-3948-9EC1-41E49743ACF0}"/>
                </a:ext>
              </a:extLst>
            </p:cNvPr>
            <p:cNvSpPr/>
            <p:nvPr/>
          </p:nvSpPr>
          <p:spPr bwMode="auto">
            <a:xfrm>
              <a:off x="10001773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NOV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DB4026C-68E6-ED41-B698-3937AB6D8AA3}"/>
                </a:ext>
              </a:extLst>
            </p:cNvPr>
            <p:cNvSpPr/>
            <p:nvPr/>
          </p:nvSpPr>
          <p:spPr bwMode="auto">
            <a:xfrm>
              <a:off x="10739194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DEC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852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57338"/>
            <a:ext cx="12192000" cy="531079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8250" y="3645024"/>
            <a:ext cx="356617" cy="1021082"/>
          </a:xfrm>
          <a:prstGeom prst="rect">
            <a:avLst/>
          </a:prstGeom>
        </p:spPr>
      </p:pic>
      <p:sp>
        <p:nvSpPr>
          <p:cNvPr id="11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62104" y="6453343"/>
            <a:ext cx="590549" cy="252413"/>
          </a:xfrm>
          <a:prstGeom prst="rect">
            <a:avLst/>
          </a:prstGeom>
        </p:spPr>
        <p:txBody>
          <a:bodyPr/>
          <a:lstStyle/>
          <a:p>
            <a:r>
              <a:rPr lang="fr-BE" dirty="0"/>
              <a:t>3</a:t>
            </a:r>
          </a:p>
        </p:txBody>
      </p:sp>
      <p:sp>
        <p:nvSpPr>
          <p:cNvPr id="12" name="Title 8">
            <a:extLst>
              <a:ext uri="{FF2B5EF4-FFF2-40B4-BE49-F238E27FC236}">
                <a16:creationId xmlns:a16="http://schemas.microsoft.com/office/drawing/2014/main" id="{1911BE14-7E67-2D46-8CED-578009F21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Spoorlopen - balans 201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4EFD50-D5AB-5E44-835B-2535C0B50ED5}"/>
              </a:ext>
            </a:extLst>
          </p:cNvPr>
          <p:cNvSpPr txBox="1"/>
          <p:nvPr/>
        </p:nvSpPr>
        <p:spPr>
          <a:xfrm>
            <a:off x="10408682" y="3502749"/>
            <a:ext cx="11532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nl-BE" dirty="0">
                <a:solidFill>
                  <a:schemeClr val="bg1"/>
                </a:solidFill>
                <a:latin typeface="Calibri" panose="020F0502020204030204" pitchFamily="34" charset="0"/>
              </a:rPr>
              <a:t>AANTAL </a:t>
            </a:r>
          </a:p>
          <a:p>
            <a:pPr algn="l"/>
            <a:r>
              <a:rPr lang="nl-BE" dirty="0">
                <a:solidFill>
                  <a:schemeClr val="bg1"/>
                </a:solidFill>
                <a:latin typeface="Calibri" panose="020F0502020204030204" pitchFamily="34" charset="0"/>
              </a:rPr>
              <a:t>GEVALLE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A1F015-7181-8E4D-B30F-BE20AD1EBF63}"/>
              </a:ext>
            </a:extLst>
          </p:cNvPr>
          <p:cNvSpPr txBox="1"/>
          <p:nvPr/>
        </p:nvSpPr>
        <p:spPr>
          <a:xfrm>
            <a:off x="10408682" y="4178458"/>
            <a:ext cx="1418273" cy="5875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nl-BE" dirty="0">
                <a:solidFill>
                  <a:schemeClr val="bg1"/>
                </a:solidFill>
                <a:latin typeface="Calibri" panose="020F0502020204030204" pitchFamily="34" charset="0"/>
              </a:rPr>
              <a:t>MINUTEN </a:t>
            </a:r>
            <a:br>
              <a:rPr lang="nl-BE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nl-BE" dirty="0">
                <a:solidFill>
                  <a:schemeClr val="bg1"/>
                </a:solidFill>
                <a:latin typeface="Calibri" panose="020F0502020204030204" pitchFamily="34" charset="0"/>
              </a:rPr>
              <a:t>VERTRAGING</a:t>
            </a:r>
          </a:p>
        </p:txBody>
      </p:sp>
    </p:spTree>
    <p:extLst>
      <p:ext uri="{BB962C8B-B14F-4D97-AF65-F5344CB8AC3E}">
        <p14:creationId xmlns:p14="http://schemas.microsoft.com/office/powerpoint/2010/main" val="1028770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Sensibiliseringscampagne tegen spoorlopen</a:t>
            </a:r>
            <a:endParaRPr lang="fr-BE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smtClean="0"/>
              <a:pPr/>
              <a:t>30</a:t>
            </a:fld>
            <a:endParaRPr lang="en-GB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78635" y="2261559"/>
            <a:ext cx="10788650" cy="4056062"/>
          </a:xfrm>
        </p:spPr>
        <p:txBody>
          <a:bodyPr/>
          <a:lstStyle/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GROEP</a:t>
            </a:r>
            <a:r>
              <a:rPr lang="nl-BE" dirty="0" smtClean="0"/>
              <a:t>	</a:t>
            </a:r>
            <a:r>
              <a:rPr lang="fr-BE" i="1" dirty="0"/>
              <a:t> Social </a:t>
            </a:r>
            <a:r>
              <a:rPr lang="fr-BE" i="1" dirty="0" err="1" smtClean="0"/>
              <a:t>trespassers</a:t>
            </a:r>
            <a:r>
              <a:rPr lang="nl-BE" i="1" dirty="0" smtClean="0"/>
              <a:t>: </a:t>
            </a:r>
            <a:r>
              <a:rPr lang="nl-BE" dirty="0"/>
              <a:t>Vlaamse jongeren 16-24 jaar &amp; </a:t>
            </a:r>
            <a:r>
              <a:rPr lang="en-GB" dirty="0"/>
              <a:t>65+'ers</a:t>
            </a:r>
            <a:endParaRPr lang="nl-BE" dirty="0"/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STELLINGEN</a:t>
            </a:r>
            <a:r>
              <a:rPr lang="nl-BE" dirty="0" smtClean="0"/>
              <a:t>	Sensibiliseren over </a:t>
            </a:r>
            <a:r>
              <a:rPr lang="nl-BE" dirty="0"/>
              <a:t>de risico’s van risicogedrag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HEFBOOM</a:t>
            </a:r>
            <a:r>
              <a:rPr lang="nl-BE" dirty="0" smtClean="0"/>
              <a:t>	Emotie</a:t>
            </a:r>
            <a:endParaRPr lang="nl-BE" dirty="0"/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ROJECTEN</a:t>
            </a:r>
            <a:r>
              <a:rPr lang="nl-BE" dirty="0" smtClean="0"/>
              <a:t>	Sensibiliseringscampagne</a:t>
            </a:r>
            <a:endParaRPr lang="nl-BE" dirty="0"/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LANNING</a:t>
            </a:r>
            <a:r>
              <a:rPr lang="nl-BE" dirty="0" smtClean="0"/>
              <a:t>	Juni 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WAAR	</a:t>
            </a:r>
            <a:r>
              <a:rPr lang="nl-BE" dirty="0" smtClean="0"/>
              <a:t>Vlaanderen</a:t>
            </a:r>
            <a:endParaRPr lang="nl-BE" dirty="0"/>
          </a:p>
        </p:txBody>
      </p:sp>
      <p:sp>
        <p:nvSpPr>
          <p:cNvPr id="9" name="Rectangle 8"/>
          <p:cNvSpPr/>
          <p:nvPr/>
        </p:nvSpPr>
        <p:spPr bwMode="auto">
          <a:xfrm>
            <a:off x="381001" y="6321426"/>
            <a:ext cx="1638300" cy="252413"/>
          </a:xfrm>
          <a:prstGeom prst="rect">
            <a:avLst/>
          </a:prstGeom>
          <a:solidFill>
            <a:schemeClr val="bg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36" name="Straight Connector 35"/>
          <p:cNvCxnSpPr/>
          <p:nvPr/>
        </p:nvCxnSpPr>
        <p:spPr bwMode="auto">
          <a:xfrm>
            <a:off x="775211" y="220486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/>
          <p:cNvCxnSpPr/>
          <p:nvPr/>
        </p:nvCxnSpPr>
        <p:spPr bwMode="auto">
          <a:xfrm>
            <a:off x="775211" y="2636912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>
            <a:off x="775211" y="3068960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>
            <a:off x="775211" y="350100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/>
        </p:nvCxnSpPr>
        <p:spPr bwMode="auto">
          <a:xfrm>
            <a:off x="775211" y="400506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/>
          <p:nvPr/>
        </p:nvCxnSpPr>
        <p:spPr bwMode="auto">
          <a:xfrm>
            <a:off x="775211" y="448168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/>
        </p:nvCxnSpPr>
        <p:spPr bwMode="auto">
          <a:xfrm>
            <a:off x="775211" y="494116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45" name="Picture 4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8218" y="4534474"/>
            <a:ext cx="680968" cy="5573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0016" y="2515074"/>
            <a:ext cx="6501385" cy="4342925"/>
          </a:xfrm>
          <a:prstGeom prst="rect">
            <a:avLst/>
          </a:prstGeom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7A3B0078-D5EB-B044-A32A-0690C6F23388}"/>
              </a:ext>
            </a:extLst>
          </p:cNvPr>
          <p:cNvSpPr/>
          <p:nvPr/>
        </p:nvSpPr>
        <p:spPr>
          <a:xfrm>
            <a:off x="7674408" y="166268"/>
            <a:ext cx="1316477" cy="1304724"/>
          </a:xfrm>
          <a:prstGeom prst="ellipse">
            <a:avLst/>
          </a:prstGeom>
          <a:solidFill>
            <a:schemeClr val="accent2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14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BB1CECE-58ED-1B48-9A65-DDBB7F314DC3}"/>
              </a:ext>
            </a:extLst>
          </p:cNvPr>
          <p:cNvGrpSpPr/>
          <p:nvPr/>
        </p:nvGrpSpPr>
        <p:grpSpPr>
          <a:xfrm>
            <a:off x="9264352" y="305426"/>
            <a:ext cx="2153198" cy="1128528"/>
            <a:chOff x="9264352" y="305426"/>
            <a:chExt cx="2153198" cy="1128528"/>
          </a:xfrm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7678C63F-6DE1-BC49-BE47-6BF9EC158D2C}"/>
                </a:ext>
              </a:extLst>
            </p:cNvPr>
            <p:cNvSpPr/>
            <p:nvPr/>
          </p:nvSpPr>
          <p:spPr bwMode="auto">
            <a:xfrm>
              <a:off x="9264352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AN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3193F16-2F68-F643-B26A-84A6E30F9BA4}"/>
                </a:ext>
              </a:extLst>
            </p:cNvPr>
            <p:cNvSpPr/>
            <p:nvPr/>
          </p:nvSpPr>
          <p:spPr bwMode="auto">
            <a:xfrm>
              <a:off x="10001773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FEB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DB0FE63-F053-4148-B958-8D11BE241192}"/>
                </a:ext>
              </a:extLst>
            </p:cNvPr>
            <p:cNvSpPr/>
            <p:nvPr/>
          </p:nvSpPr>
          <p:spPr bwMode="auto">
            <a:xfrm>
              <a:off x="10739194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AAR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00ADDE18-132C-974C-AFCC-27D12811380A}"/>
                </a:ext>
              </a:extLst>
            </p:cNvPr>
            <p:cNvSpPr/>
            <p:nvPr/>
          </p:nvSpPr>
          <p:spPr bwMode="auto">
            <a:xfrm>
              <a:off x="9264352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APRIL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C6CB81A7-5959-A646-B4D2-54279E0641E0}"/>
                </a:ext>
              </a:extLst>
            </p:cNvPr>
            <p:cNvSpPr/>
            <p:nvPr/>
          </p:nvSpPr>
          <p:spPr bwMode="auto">
            <a:xfrm>
              <a:off x="10001773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E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A87A4F7-7A4E-764F-9EC8-3C4F101BE08A}"/>
                </a:ext>
              </a:extLst>
            </p:cNvPr>
            <p:cNvSpPr/>
            <p:nvPr/>
          </p:nvSpPr>
          <p:spPr bwMode="auto">
            <a:xfrm>
              <a:off x="10739194" y="602735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JUN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5521870F-8F6D-504D-867D-6CF864203319}"/>
                </a:ext>
              </a:extLst>
            </p:cNvPr>
            <p:cNvSpPr/>
            <p:nvPr/>
          </p:nvSpPr>
          <p:spPr bwMode="auto">
            <a:xfrm>
              <a:off x="9264352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ULI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2E8952E3-AFB1-E244-8B8A-CE2DD067D2DC}"/>
                </a:ext>
              </a:extLst>
            </p:cNvPr>
            <p:cNvSpPr/>
            <p:nvPr/>
          </p:nvSpPr>
          <p:spPr bwMode="auto">
            <a:xfrm>
              <a:off x="10001773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AUG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3F00AA3-91E0-9249-A674-2F7BD36D9416}"/>
                </a:ext>
              </a:extLst>
            </p:cNvPr>
            <p:cNvSpPr/>
            <p:nvPr/>
          </p:nvSpPr>
          <p:spPr bwMode="auto">
            <a:xfrm>
              <a:off x="10739194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SEP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9438235-B0B2-9B45-98D9-F6752E91DA61}"/>
                </a:ext>
              </a:extLst>
            </p:cNvPr>
            <p:cNvSpPr/>
            <p:nvPr/>
          </p:nvSpPr>
          <p:spPr bwMode="auto">
            <a:xfrm>
              <a:off x="9264352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OKT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D8FE0FA-12EF-5E49-9136-59B092909B89}"/>
                </a:ext>
              </a:extLst>
            </p:cNvPr>
            <p:cNvSpPr/>
            <p:nvPr/>
          </p:nvSpPr>
          <p:spPr bwMode="auto">
            <a:xfrm>
              <a:off x="10001773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NOV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30BB8A9-4635-6045-B5CF-9AC0D9A94F38}"/>
                </a:ext>
              </a:extLst>
            </p:cNvPr>
            <p:cNvSpPr/>
            <p:nvPr/>
          </p:nvSpPr>
          <p:spPr bwMode="auto">
            <a:xfrm>
              <a:off x="10739194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DEC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14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-20813"/>
          <a:stretch/>
        </p:blipFill>
        <p:spPr>
          <a:xfrm>
            <a:off x="9174718" y="2038332"/>
            <a:ext cx="2812841" cy="1750708"/>
          </a:xfrm>
          <a:prstGeom prst="rect">
            <a:avLst/>
          </a:prstGeom>
        </p:spPr>
      </p:pic>
      <p:cxnSp>
        <p:nvCxnSpPr>
          <p:cNvPr id="40" name="Straight Connector 39"/>
          <p:cNvCxnSpPr/>
          <p:nvPr/>
        </p:nvCxnSpPr>
        <p:spPr bwMode="auto">
          <a:xfrm>
            <a:off x="767408" y="213285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/>
        </p:nvCxnSpPr>
        <p:spPr bwMode="auto">
          <a:xfrm>
            <a:off x="767408" y="293408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1550" y="981082"/>
            <a:ext cx="10710786" cy="887413"/>
          </a:xfrm>
        </p:spPr>
        <p:txBody>
          <a:bodyPr/>
          <a:lstStyle/>
          <a:p>
            <a:r>
              <a:rPr lang="nl-BE" dirty="0"/>
              <a:t>Jongeren: sensibilisering in </a:t>
            </a:r>
            <a:r>
              <a:rPr lang="nl-BE" dirty="0" smtClean="0"/>
              <a:t>scholen</a:t>
            </a:r>
            <a:endParaRPr lang="fr-BE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smtClean="0"/>
              <a:pPr/>
              <a:t>31</a:t>
            </a:fld>
            <a:endParaRPr lang="en-GB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66763" y="1771046"/>
            <a:ext cx="10650787" cy="4043362"/>
          </a:xfrm>
          <a:noFill/>
          <a:ln>
            <a:noFill/>
          </a:ln>
        </p:spPr>
        <p:txBody>
          <a:bodyPr/>
          <a:lstStyle/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GROEP</a:t>
            </a:r>
            <a:r>
              <a:rPr lang="nl-BE" dirty="0"/>
              <a:t>	Jongeren van 6 tot 18 jaar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STELLING</a:t>
            </a:r>
            <a:r>
              <a:rPr lang="nl-BE" dirty="0"/>
              <a:t>	Sensibiliseren rond veiligheid aan overwegen,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	sporen </a:t>
            </a:r>
            <a:r>
              <a:rPr lang="nl-BE" dirty="0"/>
              <a:t>en in stations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HEFBOOM</a:t>
            </a:r>
            <a:r>
              <a:rPr lang="nl-BE" dirty="0"/>
              <a:t>	Acties op maat van de leerlingen (per leeftijd)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ROJECTEN</a:t>
            </a:r>
            <a:r>
              <a:rPr lang="nl-BE" dirty="0"/>
              <a:t>	Tools voor lager onderwijs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	(</a:t>
            </a:r>
            <a:r>
              <a:rPr lang="nl-BE" dirty="0"/>
              <a:t>kalender, schoolkit, spelboekje)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	&amp; </a:t>
            </a:r>
            <a:r>
              <a:rPr lang="nl-BE" dirty="0"/>
              <a:t>The Floor (middelbaar)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LANNING</a:t>
            </a:r>
            <a:r>
              <a:rPr lang="nl-BE" dirty="0"/>
              <a:t>	Back </a:t>
            </a:r>
            <a:r>
              <a:rPr lang="nl-BE" dirty="0" err="1"/>
              <a:t>to</a:t>
            </a:r>
            <a:r>
              <a:rPr lang="nl-BE" dirty="0"/>
              <a:t> school: september – december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	+ </a:t>
            </a:r>
            <a:r>
              <a:rPr lang="nl-BE" dirty="0"/>
              <a:t>acties in scholen het hele jaar door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WAAR</a:t>
            </a:r>
            <a:r>
              <a:rPr lang="nl-BE" dirty="0"/>
              <a:t>	Overal in België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381001" y="6321426"/>
            <a:ext cx="1638300" cy="252413"/>
          </a:xfrm>
          <a:prstGeom prst="rect">
            <a:avLst/>
          </a:prstGeom>
          <a:solidFill>
            <a:schemeClr val="bg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39" name="Straight Connector 38"/>
          <p:cNvCxnSpPr/>
          <p:nvPr/>
        </p:nvCxnSpPr>
        <p:spPr bwMode="auto">
          <a:xfrm>
            <a:off x="767408" y="170080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/>
          <p:nvPr/>
        </p:nvCxnSpPr>
        <p:spPr bwMode="auto">
          <a:xfrm>
            <a:off x="767408" y="336613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/>
        </p:nvCxnSpPr>
        <p:spPr bwMode="auto">
          <a:xfrm>
            <a:off x="761550" y="444625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/>
          <p:cNvCxnSpPr/>
          <p:nvPr/>
        </p:nvCxnSpPr>
        <p:spPr bwMode="auto">
          <a:xfrm>
            <a:off x="767408" y="517585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/>
          <p:cNvCxnSpPr/>
          <p:nvPr/>
        </p:nvCxnSpPr>
        <p:spPr bwMode="auto">
          <a:xfrm>
            <a:off x="767408" y="5666455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47" name="Picture 8" descr="Afbeeldingsresultaat voor belgium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2944" y="5215741"/>
            <a:ext cx="680968" cy="552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70984" y="5805264"/>
            <a:ext cx="21839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BE" sz="2400" b="1" dirty="0">
                <a:solidFill>
                  <a:srgbClr val="00B0F0"/>
                </a:solidFill>
                <a:latin typeface="Calibri" panose="020F0502020204030204" pitchFamily="34" charset="0"/>
              </a:rPr>
              <a:t>7.000 </a:t>
            </a:r>
            <a:r>
              <a:rPr lang="fr-BE" dirty="0">
                <a:solidFill>
                  <a:srgbClr val="00B0F0"/>
                </a:solidFill>
                <a:latin typeface="Calibri" panose="020F0502020204030204" pitchFamily="34" charset="0"/>
              </a:rPr>
              <a:t/>
            </a:r>
            <a:br>
              <a:rPr lang="fr-BE" dirty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lang="fr-BE" dirty="0" err="1" smtClean="0">
                <a:latin typeface="Calibri" panose="020F0502020204030204" pitchFamily="34" charset="0"/>
              </a:rPr>
              <a:t>schoolkits</a:t>
            </a:r>
            <a:endParaRPr lang="fr-BE" dirty="0">
              <a:latin typeface="Calibri" panose="020F050202020403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587253" y="5805264"/>
            <a:ext cx="17886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BE" sz="2400" b="1" dirty="0">
                <a:solidFill>
                  <a:srgbClr val="00B0F0"/>
                </a:solidFill>
                <a:latin typeface="Calibri" panose="020F0502020204030204" pitchFamily="34" charset="0"/>
              </a:rPr>
              <a:t>47.000</a:t>
            </a:r>
            <a:r>
              <a:rPr lang="fr-BE" sz="2400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lang="fr-BE" dirty="0">
                <a:solidFill>
                  <a:srgbClr val="00B0F0"/>
                </a:solidFill>
                <a:latin typeface="Calibri" panose="020F0502020204030204" pitchFamily="34" charset="0"/>
              </a:rPr>
              <a:t/>
            </a:r>
            <a:br>
              <a:rPr lang="fr-BE" dirty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lang="fr-BE" dirty="0" err="1" smtClean="0">
                <a:latin typeface="Calibri" panose="020F0502020204030204" pitchFamily="34" charset="0"/>
              </a:rPr>
              <a:t>spelboekjes</a:t>
            </a:r>
            <a:endParaRPr lang="fr-BE" dirty="0">
              <a:latin typeface="Calibri" panose="020F0502020204030204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674498" y="5805264"/>
            <a:ext cx="200567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BE" sz="2400" b="1" dirty="0">
                <a:solidFill>
                  <a:srgbClr val="00B0F0"/>
                </a:solidFill>
                <a:latin typeface="Calibri" panose="020F0502020204030204" pitchFamily="34" charset="0"/>
              </a:rPr>
              <a:t>86.000</a:t>
            </a:r>
            <a:r>
              <a:rPr lang="fr-BE" dirty="0">
                <a:solidFill>
                  <a:srgbClr val="00B0F0"/>
                </a:solidFill>
                <a:latin typeface="Calibri" panose="020F0502020204030204" pitchFamily="34" charset="0"/>
              </a:rPr>
              <a:t/>
            </a:r>
            <a:br>
              <a:rPr lang="fr-BE" dirty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lang="fr-BE" dirty="0" err="1" smtClean="0">
                <a:latin typeface="Calibri" panose="020F0502020204030204" pitchFamily="34" charset="0"/>
              </a:rPr>
              <a:t>kalenders</a:t>
            </a:r>
            <a:endParaRPr lang="fr-BE" dirty="0">
              <a:latin typeface="Calibri" panose="020F050202020403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8103763" y="5805264"/>
            <a:ext cx="332082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BE" sz="2400" b="1" dirty="0">
                <a:solidFill>
                  <a:srgbClr val="00B0F0"/>
                </a:solidFill>
                <a:latin typeface="Calibri" panose="020F0502020204030204" pitchFamily="34" charset="0"/>
              </a:rPr>
              <a:t>16.000 </a:t>
            </a:r>
            <a:r>
              <a:rPr lang="fr-BE" dirty="0">
                <a:solidFill>
                  <a:srgbClr val="00B0F0"/>
                </a:solidFill>
                <a:latin typeface="Calibri" panose="020F0502020204030204" pitchFamily="34" charset="0"/>
              </a:rPr>
              <a:t/>
            </a:r>
            <a:br>
              <a:rPr lang="fr-BE" dirty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lang="fr-BE" dirty="0" err="1" smtClean="0">
                <a:latin typeface="Calibri" panose="020F0502020204030204" pitchFamily="34" charset="0"/>
              </a:rPr>
              <a:t>leerlingen</a:t>
            </a:r>
            <a:r>
              <a:rPr lang="fr-BE" dirty="0" smtClean="0">
                <a:latin typeface="Calibri" panose="020F0502020204030204" pitchFamily="34" charset="0"/>
              </a:rPr>
              <a:t> </a:t>
            </a:r>
            <a:r>
              <a:rPr lang="fr-BE" dirty="0" err="1" smtClean="0">
                <a:latin typeface="Calibri" panose="020F0502020204030204" pitchFamily="34" charset="0"/>
              </a:rPr>
              <a:t>gesensibiliseerd</a:t>
            </a:r>
            <a:r>
              <a:rPr lang="fr-BE" dirty="0" smtClean="0">
                <a:latin typeface="Calibri" panose="020F0502020204030204" pitchFamily="34" charset="0"/>
              </a:rPr>
              <a:t> </a:t>
            </a:r>
            <a:br>
              <a:rPr lang="fr-BE" dirty="0" smtClean="0">
                <a:latin typeface="Calibri" panose="020F0502020204030204" pitchFamily="34" charset="0"/>
              </a:rPr>
            </a:br>
            <a:r>
              <a:rPr lang="fr-BE" dirty="0" smtClean="0">
                <a:latin typeface="Calibri" panose="020F0502020204030204" pitchFamily="34" charset="0"/>
              </a:rPr>
              <a:t>met The </a:t>
            </a:r>
            <a:r>
              <a:rPr lang="fr-BE" dirty="0" err="1">
                <a:latin typeface="Calibri" panose="020F0502020204030204" pitchFamily="34" charset="0"/>
              </a:rPr>
              <a:t>Floor</a:t>
            </a:r>
            <a:endParaRPr lang="fr-BE" dirty="0">
              <a:latin typeface="Calibri" panose="020F0502020204030204" pitchFamily="34" charset="0"/>
            </a:endParaRPr>
          </a:p>
        </p:txBody>
      </p:sp>
      <p:pic>
        <p:nvPicPr>
          <p:cNvPr id="23" name="Tijdelijke aanduiding voor inhoud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 rot="250232">
            <a:off x="11185425" y="2785916"/>
            <a:ext cx="972125" cy="1379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id="{A17B449B-8C40-8F4A-A9F6-5B893BBADCEC}"/>
              </a:ext>
            </a:extLst>
          </p:cNvPr>
          <p:cNvSpPr/>
          <p:nvPr/>
        </p:nvSpPr>
        <p:spPr>
          <a:xfrm>
            <a:off x="7674408" y="166268"/>
            <a:ext cx="1316477" cy="1304724"/>
          </a:xfrm>
          <a:prstGeom prst="ellipse">
            <a:avLst/>
          </a:prstGeom>
          <a:solidFill>
            <a:schemeClr val="accent2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14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B7F560F-F3FD-6A47-AA9A-C41AD65782DC}"/>
              </a:ext>
            </a:extLst>
          </p:cNvPr>
          <p:cNvGrpSpPr/>
          <p:nvPr/>
        </p:nvGrpSpPr>
        <p:grpSpPr>
          <a:xfrm>
            <a:off x="9264352" y="305426"/>
            <a:ext cx="2153198" cy="1128528"/>
            <a:chOff x="9264352" y="305426"/>
            <a:chExt cx="2153198" cy="1128528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21F87BD2-048F-6E4C-8BCE-67F6465C5F99}"/>
                </a:ext>
              </a:extLst>
            </p:cNvPr>
            <p:cNvSpPr/>
            <p:nvPr/>
          </p:nvSpPr>
          <p:spPr bwMode="auto">
            <a:xfrm>
              <a:off x="9264352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AN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A0FB839-4EAA-A748-BE08-5C1C1492FA17}"/>
                </a:ext>
              </a:extLst>
            </p:cNvPr>
            <p:cNvSpPr/>
            <p:nvPr/>
          </p:nvSpPr>
          <p:spPr bwMode="auto">
            <a:xfrm>
              <a:off x="10001773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FEB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E66BEDA-1F67-E14C-831F-A0E8FE19FEFB}"/>
                </a:ext>
              </a:extLst>
            </p:cNvPr>
            <p:cNvSpPr/>
            <p:nvPr/>
          </p:nvSpPr>
          <p:spPr bwMode="auto">
            <a:xfrm>
              <a:off x="10739194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AAR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D61BB89-3E6E-484D-BA8F-8DA0AC7B679D}"/>
                </a:ext>
              </a:extLst>
            </p:cNvPr>
            <p:cNvSpPr/>
            <p:nvPr/>
          </p:nvSpPr>
          <p:spPr bwMode="auto">
            <a:xfrm>
              <a:off x="9264352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APRIL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299DBF4-4872-5A49-910A-C2B3A91D987C}"/>
                </a:ext>
              </a:extLst>
            </p:cNvPr>
            <p:cNvSpPr/>
            <p:nvPr/>
          </p:nvSpPr>
          <p:spPr bwMode="auto">
            <a:xfrm>
              <a:off x="10001773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E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6E98492A-D596-1B40-AB6A-8BB5112DCE29}"/>
                </a:ext>
              </a:extLst>
            </p:cNvPr>
            <p:cNvSpPr/>
            <p:nvPr/>
          </p:nvSpPr>
          <p:spPr bwMode="auto">
            <a:xfrm>
              <a:off x="10739194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JUN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47F5AA3A-83C7-6246-8CEB-3E96D2C0AAAD}"/>
                </a:ext>
              </a:extLst>
            </p:cNvPr>
            <p:cNvSpPr/>
            <p:nvPr/>
          </p:nvSpPr>
          <p:spPr bwMode="auto">
            <a:xfrm>
              <a:off x="9264352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ULI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B3E66DE-3170-F445-8521-D69C8445ED87}"/>
                </a:ext>
              </a:extLst>
            </p:cNvPr>
            <p:cNvSpPr/>
            <p:nvPr/>
          </p:nvSpPr>
          <p:spPr bwMode="auto">
            <a:xfrm>
              <a:off x="10001773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AUG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21F793F5-DA60-EA4D-BEC6-755E8F70B316}"/>
                </a:ext>
              </a:extLst>
            </p:cNvPr>
            <p:cNvSpPr/>
            <p:nvPr/>
          </p:nvSpPr>
          <p:spPr bwMode="auto">
            <a:xfrm>
              <a:off x="10739194" y="896420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SEP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3D784A32-2CA8-0141-8756-615A1E83E89D}"/>
                </a:ext>
              </a:extLst>
            </p:cNvPr>
            <p:cNvSpPr/>
            <p:nvPr/>
          </p:nvSpPr>
          <p:spPr bwMode="auto">
            <a:xfrm>
              <a:off x="9264352" y="1190105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OKT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9054DA7-B9D1-5B48-B7F1-DD75B5673781}"/>
                </a:ext>
              </a:extLst>
            </p:cNvPr>
            <p:cNvSpPr/>
            <p:nvPr/>
          </p:nvSpPr>
          <p:spPr bwMode="auto">
            <a:xfrm>
              <a:off x="10001773" y="1190105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NOV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6447C551-98E6-924F-AF96-411C08ACA6E0}"/>
                </a:ext>
              </a:extLst>
            </p:cNvPr>
            <p:cNvSpPr/>
            <p:nvPr/>
          </p:nvSpPr>
          <p:spPr bwMode="auto">
            <a:xfrm>
              <a:off x="10739194" y="1190105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DEC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54071">
            <a:off x="8059499" y="3006638"/>
            <a:ext cx="1988608" cy="2147382"/>
          </a:xfrm>
          <a:prstGeom prst="rect">
            <a:avLst/>
          </a:prstGeom>
        </p:spPr>
      </p:pic>
      <p:pic>
        <p:nvPicPr>
          <p:cNvPr id="24" name="Picture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79674">
            <a:off x="9567688" y="3448799"/>
            <a:ext cx="1995854" cy="142771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410" name="Picture 2" descr="Afbeeldingsresultaat voor vr gear 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51952" y="4675599"/>
            <a:ext cx="1020563" cy="7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857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Straight Connector 38"/>
          <p:cNvCxnSpPr/>
          <p:nvPr/>
        </p:nvCxnSpPr>
        <p:spPr bwMode="auto">
          <a:xfrm>
            <a:off x="767408" y="422108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/>
        </p:nvCxnSpPr>
        <p:spPr bwMode="auto">
          <a:xfrm>
            <a:off x="767408" y="472514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17091" y="3933056"/>
            <a:ext cx="4874908" cy="29249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Sensibiliseringsactie in </a:t>
            </a:r>
            <a:r>
              <a:rPr lang="nl-BE" dirty="0" smtClean="0"/>
              <a:t>havengebieden</a:t>
            </a:r>
            <a:endParaRPr lang="fr-BE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smtClean="0"/>
              <a:pPr/>
              <a:t>32</a:t>
            </a:fld>
            <a:endParaRPr lang="en-GB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66763" y="2024063"/>
            <a:ext cx="11425237" cy="4043362"/>
          </a:xfrm>
          <a:noFill/>
          <a:ln>
            <a:noFill/>
          </a:ln>
        </p:spPr>
        <p:txBody>
          <a:bodyPr/>
          <a:lstStyle/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GROEP</a:t>
            </a:r>
            <a:r>
              <a:rPr lang="nl-BE" dirty="0" smtClean="0"/>
              <a:t>	</a:t>
            </a:r>
            <a:r>
              <a:rPr lang="nl-BE" i="1" dirty="0" smtClean="0"/>
              <a:t>Professional drivers:</a:t>
            </a:r>
            <a:r>
              <a:rPr lang="nl-BE" dirty="0" smtClean="0"/>
              <a:t> Vrachtwagenchauffeurs </a:t>
            </a:r>
            <a:r>
              <a:rPr lang="nl-BE" dirty="0"/>
              <a:t>die in de havengebieden rondrijden</a:t>
            </a:r>
          </a:p>
          <a:p>
            <a:pPr fontAlgn="t"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STELLINGEN</a:t>
            </a:r>
            <a:r>
              <a:rPr lang="nl-BE" dirty="0" smtClean="0"/>
              <a:t>	Naleving van </a:t>
            </a:r>
            <a:r>
              <a:rPr lang="nl-BE" dirty="0"/>
              <a:t>het rode stopsein aan overwegen </a:t>
            </a:r>
          </a:p>
          <a:p>
            <a:pPr fontAlgn="t"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HEFBOOM	</a:t>
            </a:r>
            <a:r>
              <a:rPr lang="nl-BE" dirty="0" smtClean="0"/>
              <a:t>Vrachtwagenchauffeurs sensibiliseren </a:t>
            </a:r>
            <a:r>
              <a:rPr lang="nl-BE" dirty="0"/>
              <a:t>via een nuttige en concrete actie 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ROJECTEN</a:t>
            </a:r>
            <a:r>
              <a:rPr lang="nl-BE" dirty="0" smtClean="0"/>
              <a:t>	Actie op </a:t>
            </a:r>
            <a:r>
              <a:rPr lang="nl-BE" dirty="0"/>
              <a:t>het terrein - sensibilisering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LANNING</a:t>
            </a:r>
            <a:r>
              <a:rPr lang="nl-BE" dirty="0" smtClean="0"/>
              <a:t>	December 2019</a:t>
            </a:r>
            <a:endParaRPr lang="nl-BE" dirty="0"/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WAAR</a:t>
            </a:r>
            <a:r>
              <a:rPr lang="nl-BE" dirty="0" smtClean="0"/>
              <a:t>	Lokaal : Antwerpen	  (</a:t>
            </a:r>
            <a:r>
              <a:rPr lang="nl-BE" dirty="0"/>
              <a:t>eventueel Zeebrugge, Gent)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381001" y="6321426"/>
            <a:ext cx="1638300" cy="252413"/>
          </a:xfrm>
          <a:prstGeom prst="rect">
            <a:avLst/>
          </a:prstGeom>
          <a:solidFill>
            <a:schemeClr val="bg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34" name="Straight Connector 33"/>
          <p:cNvCxnSpPr/>
          <p:nvPr/>
        </p:nvCxnSpPr>
        <p:spPr bwMode="auto">
          <a:xfrm>
            <a:off x="767408" y="1954155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>
            <a:off x="767408" y="2386203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>
            <a:off x="767408" y="286871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/>
          <p:cNvCxnSpPr/>
          <p:nvPr/>
        </p:nvCxnSpPr>
        <p:spPr bwMode="auto">
          <a:xfrm>
            <a:off x="767408" y="3300766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>
            <a:off x="767408" y="3789040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pSp>
        <p:nvGrpSpPr>
          <p:cNvPr id="16" name="Group 15"/>
          <p:cNvGrpSpPr/>
          <p:nvPr/>
        </p:nvGrpSpPr>
        <p:grpSpPr>
          <a:xfrm>
            <a:off x="4781194" y="4279749"/>
            <a:ext cx="680968" cy="552947"/>
            <a:chOff x="7679834" y="4286544"/>
            <a:chExt cx="680968" cy="552947"/>
          </a:xfrm>
        </p:grpSpPr>
        <p:pic>
          <p:nvPicPr>
            <p:cNvPr id="42" name="Picture 8" descr="Afbeeldingsresultaat voor belgium png"/>
            <p:cNvPicPr>
              <a:picLocks noChangeAspect="1" noChangeArrowheads="1"/>
            </p:cNvPicPr>
            <p:nvPr/>
          </p:nvPicPr>
          <p:blipFill>
            <a:blip r:embed="rId3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79834" y="4286544"/>
              <a:ext cx="680968" cy="552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Oval 5"/>
            <p:cNvSpPr/>
            <p:nvPr/>
          </p:nvSpPr>
          <p:spPr bwMode="auto">
            <a:xfrm>
              <a:off x="7948310" y="4315451"/>
              <a:ext cx="121661" cy="121661"/>
            </a:xfrm>
            <a:prstGeom prst="ellipse">
              <a:avLst/>
            </a:prstGeom>
            <a:solidFill>
              <a:srgbClr val="00B0F0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6238A3BE-D89E-C940-BDDF-94B7B6CB5AB7}"/>
              </a:ext>
            </a:extLst>
          </p:cNvPr>
          <p:cNvSpPr/>
          <p:nvPr/>
        </p:nvSpPr>
        <p:spPr>
          <a:xfrm>
            <a:off x="7674408" y="166268"/>
            <a:ext cx="1316477" cy="1304724"/>
          </a:xfrm>
          <a:prstGeom prst="ellipse">
            <a:avLst/>
          </a:prstGeom>
          <a:solidFill>
            <a:schemeClr val="accent2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14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43971F2-F189-9041-B966-DE21E7E4AD36}"/>
              </a:ext>
            </a:extLst>
          </p:cNvPr>
          <p:cNvGrpSpPr/>
          <p:nvPr/>
        </p:nvGrpSpPr>
        <p:grpSpPr>
          <a:xfrm>
            <a:off x="9264352" y="305426"/>
            <a:ext cx="2153198" cy="1128528"/>
            <a:chOff x="9264352" y="305426"/>
            <a:chExt cx="2153198" cy="1128528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736D2CA-0516-5443-9807-29216AFF8A8C}"/>
                </a:ext>
              </a:extLst>
            </p:cNvPr>
            <p:cNvSpPr/>
            <p:nvPr/>
          </p:nvSpPr>
          <p:spPr bwMode="auto">
            <a:xfrm>
              <a:off x="9264352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AN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5EC85ADF-FC35-054E-9310-B58147803A0C}"/>
                </a:ext>
              </a:extLst>
            </p:cNvPr>
            <p:cNvSpPr/>
            <p:nvPr/>
          </p:nvSpPr>
          <p:spPr bwMode="auto">
            <a:xfrm>
              <a:off x="10001773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FEB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C7091AD2-23BD-8B41-86A6-33291ABB285E}"/>
                </a:ext>
              </a:extLst>
            </p:cNvPr>
            <p:cNvSpPr/>
            <p:nvPr/>
          </p:nvSpPr>
          <p:spPr bwMode="auto">
            <a:xfrm>
              <a:off x="10739194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AAR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6026EE3-C18D-7C41-899F-1B46A2019750}"/>
                </a:ext>
              </a:extLst>
            </p:cNvPr>
            <p:cNvSpPr/>
            <p:nvPr/>
          </p:nvSpPr>
          <p:spPr bwMode="auto">
            <a:xfrm>
              <a:off x="9264352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APRIL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50D3C0C-14AB-5A46-AF92-2E86F3D5E7B0}"/>
                </a:ext>
              </a:extLst>
            </p:cNvPr>
            <p:cNvSpPr/>
            <p:nvPr/>
          </p:nvSpPr>
          <p:spPr bwMode="auto">
            <a:xfrm>
              <a:off x="10001773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E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80C66153-0231-0248-9408-CAE05BE21BC0}"/>
                </a:ext>
              </a:extLst>
            </p:cNvPr>
            <p:cNvSpPr/>
            <p:nvPr/>
          </p:nvSpPr>
          <p:spPr bwMode="auto">
            <a:xfrm>
              <a:off x="10739194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JUN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33F5E25F-8B77-6A4E-9BCE-96632DA8B84E}"/>
                </a:ext>
              </a:extLst>
            </p:cNvPr>
            <p:cNvSpPr/>
            <p:nvPr/>
          </p:nvSpPr>
          <p:spPr bwMode="auto">
            <a:xfrm>
              <a:off x="9264352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ULI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FC49F9E6-1AC8-9B4B-AF0B-206BD11E2C6E}"/>
                </a:ext>
              </a:extLst>
            </p:cNvPr>
            <p:cNvSpPr/>
            <p:nvPr/>
          </p:nvSpPr>
          <p:spPr bwMode="auto">
            <a:xfrm>
              <a:off x="10001773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AUG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3F5F104-B7A2-9741-AA5E-7C26D0324AED}"/>
                </a:ext>
              </a:extLst>
            </p:cNvPr>
            <p:cNvSpPr/>
            <p:nvPr/>
          </p:nvSpPr>
          <p:spPr bwMode="auto">
            <a:xfrm>
              <a:off x="10739194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SEP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5CE1578F-86C0-9144-8BE9-EEC6B33F8565}"/>
                </a:ext>
              </a:extLst>
            </p:cNvPr>
            <p:cNvSpPr/>
            <p:nvPr/>
          </p:nvSpPr>
          <p:spPr bwMode="auto">
            <a:xfrm>
              <a:off x="9264352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OKT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2C76C4E-810F-314F-8F3F-EF5F6BDCA186}"/>
                </a:ext>
              </a:extLst>
            </p:cNvPr>
            <p:cNvSpPr/>
            <p:nvPr/>
          </p:nvSpPr>
          <p:spPr bwMode="auto">
            <a:xfrm>
              <a:off x="10001773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NOV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5865C4A-DC8B-724A-B240-B811D14548EE}"/>
                </a:ext>
              </a:extLst>
            </p:cNvPr>
            <p:cNvSpPr/>
            <p:nvPr/>
          </p:nvSpPr>
          <p:spPr bwMode="auto">
            <a:xfrm>
              <a:off x="10739194" y="1190105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DEC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176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352584" y="6453336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b="0" smtClean="0"/>
              <a:pPr/>
              <a:t>33</a:t>
            </a:fld>
            <a:endParaRPr lang="en-GB" altLang="en-US" b="0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6096000" y="3284539"/>
            <a:ext cx="1008112" cy="2485159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 flipH="1">
            <a:off x="6076896" y="2312793"/>
            <a:ext cx="2880320" cy="1008633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 flipH="1">
            <a:off x="2999656" y="3284539"/>
            <a:ext cx="3096344" cy="396927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Oval 9"/>
          <p:cNvSpPr/>
          <p:nvPr/>
        </p:nvSpPr>
        <p:spPr>
          <a:xfrm>
            <a:off x="4575244" y="1763516"/>
            <a:ext cx="2753816" cy="2753816"/>
          </a:xfrm>
          <a:prstGeom prst="ellipse">
            <a:avLst/>
          </a:prstGeom>
          <a:solidFill>
            <a:srgbClr val="0070C0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2400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eiligheid</a:t>
            </a:r>
            <a:r>
              <a:rPr lang="fr-BE" sz="2400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fr-BE" sz="2400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400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 het </a:t>
            </a:r>
            <a:br>
              <a:rPr lang="fr-BE" sz="2400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400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oorwegdomein</a:t>
            </a:r>
            <a:endParaRPr lang="fr-BE" sz="2400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2063007" y="2672976"/>
            <a:ext cx="1945138" cy="194513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VENTIE </a:t>
            </a:r>
            <a:endParaRPr lang="fr-BE" b="1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7752016" y="1124576"/>
            <a:ext cx="2376432" cy="2376432"/>
          </a:xfrm>
          <a:prstGeom prst="ellipse">
            <a:avLst/>
          </a:prstGeom>
          <a:solidFill>
            <a:srgbClr val="FB8605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2400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PRESSIE</a:t>
            </a:r>
            <a:endParaRPr lang="fr-BE" sz="2400" b="1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6096000" y="4723510"/>
            <a:ext cx="1945138" cy="194513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  <a:endParaRPr lang="fr-BE" b="1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036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Gerichte communicatieacties </a:t>
            </a:r>
            <a:r>
              <a:rPr lang="nl-BE" dirty="0" smtClean="0"/>
              <a:t>rond repressie</a:t>
            </a:r>
            <a:endParaRPr lang="fr-BE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52584" y="6453343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b="0" smtClean="0"/>
              <a:pPr/>
              <a:t>34</a:t>
            </a:fld>
            <a:endParaRPr lang="en-GB" altLang="en-US" b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66763" y="2265958"/>
            <a:ext cx="11425237" cy="4043362"/>
          </a:xfrm>
          <a:noFill/>
          <a:ln>
            <a:noFill/>
          </a:ln>
        </p:spPr>
        <p:txBody>
          <a:bodyPr/>
          <a:lstStyle/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GROEP</a:t>
            </a:r>
            <a:r>
              <a:rPr lang="nl-BE" dirty="0" smtClean="0"/>
              <a:t>	</a:t>
            </a:r>
            <a:r>
              <a:rPr lang="fr-BE" i="1" dirty="0" err="1" smtClean="0"/>
              <a:t>Rebelling</a:t>
            </a:r>
            <a:r>
              <a:rPr lang="fr-BE" i="1" dirty="0" smtClean="0"/>
              <a:t> </a:t>
            </a:r>
            <a:r>
              <a:rPr lang="fr-BE" i="1" dirty="0" err="1"/>
              <a:t>risk</a:t>
            </a:r>
            <a:r>
              <a:rPr lang="fr-BE" i="1" dirty="0"/>
              <a:t> </a:t>
            </a:r>
            <a:r>
              <a:rPr lang="fr-BE" i="1" dirty="0" err="1"/>
              <a:t>takers</a:t>
            </a:r>
            <a:r>
              <a:rPr lang="fr-BE" i="1" dirty="0"/>
              <a:t> </a:t>
            </a:r>
            <a:r>
              <a:rPr lang="nl-BE" dirty="0" smtClean="0"/>
              <a:t>(</a:t>
            </a:r>
            <a:r>
              <a:rPr lang="nl-BE" dirty="0"/>
              <a:t>spoorlopen)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	&amp; </a:t>
            </a:r>
            <a:r>
              <a:rPr lang="fr-BE" i="1" dirty="0" err="1"/>
              <a:t>Opportunistic</a:t>
            </a:r>
            <a:r>
              <a:rPr lang="fr-BE" i="1" dirty="0"/>
              <a:t> </a:t>
            </a:r>
            <a:r>
              <a:rPr lang="fr-BE" i="1" dirty="0" err="1"/>
              <a:t>crossers</a:t>
            </a:r>
            <a:r>
              <a:rPr lang="fr-BE" dirty="0"/>
              <a:t> </a:t>
            </a:r>
            <a:r>
              <a:rPr lang="nl-BE" dirty="0" smtClean="0"/>
              <a:t>(</a:t>
            </a:r>
            <a:r>
              <a:rPr lang="nl-BE" dirty="0"/>
              <a:t>overwegen)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DOELSTELLINGEN</a:t>
            </a:r>
            <a:r>
              <a:rPr lang="nl-BE" dirty="0" smtClean="0"/>
              <a:t>	Naleving van </a:t>
            </a:r>
            <a:r>
              <a:rPr lang="nl-BE" dirty="0"/>
              <a:t>het rode stopsein aan de overwegen, spoorlopen bestraffen</a:t>
            </a:r>
          </a:p>
          <a:p>
            <a:pPr fontAlgn="t"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HEFBOOM</a:t>
            </a:r>
            <a:r>
              <a:rPr lang="nl-BE" dirty="0"/>
              <a:t>	</a:t>
            </a:r>
            <a:r>
              <a:rPr lang="nl-BE" dirty="0" smtClean="0"/>
              <a:t>Boetes (</a:t>
            </a:r>
            <a:r>
              <a:rPr lang="nl-BE" dirty="0"/>
              <a:t>de doelgroepen zijn niet vatbaar voor sensibilisering)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ROJECTEN</a:t>
            </a:r>
            <a:r>
              <a:rPr lang="nl-BE" dirty="0" smtClean="0"/>
              <a:t>	Acties op </a:t>
            </a:r>
            <a:r>
              <a:rPr lang="nl-BE" dirty="0"/>
              <a:t>het terrein - communicatie media/pers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PLANNING</a:t>
            </a:r>
            <a:r>
              <a:rPr lang="nl-BE" dirty="0" smtClean="0"/>
              <a:t>	September: </a:t>
            </a:r>
            <a:r>
              <a:rPr lang="nl-BE" dirty="0"/>
              <a:t>aangekondigde acties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/>
              <a:t>	</a:t>
            </a:r>
            <a:r>
              <a:rPr lang="nl-BE" dirty="0" smtClean="0"/>
              <a:t>November: </a:t>
            </a:r>
            <a:r>
              <a:rPr lang="nl-BE" dirty="0"/>
              <a:t>onaangekondigde acties</a:t>
            </a:r>
          </a:p>
          <a:p>
            <a:pPr>
              <a:spcAft>
                <a:spcPts val="1200"/>
              </a:spcAft>
              <a:tabLst>
                <a:tab pos="1968500" algn="l"/>
              </a:tabLst>
            </a:pPr>
            <a:r>
              <a:rPr lang="nl-BE" dirty="0" smtClean="0">
                <a:solidFill>
                  <a:srgbClr val="00B0F0"/>
                </a:solidFill>
              </a:rPr>
              <a:t>WAAR</a:t>
            </a:r>
            <a:r>
              <a:rPr lang="nl-BE" dirty="0" smtClean="0"/>
              <a:t>	Hotspots en </a:t>
            </a:r>
            <a:r>
              <a:rPr lang="nl-BE" dirty="0"/>
              <a:t>volgens de uitgeschreven boetes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81001" y="6321426"/>
            <a:ext cx="1638300" cy="252413"/>
          </a:xfrm>
          <a:prstGeom prst="rect">
            <a:avLst/>
          </a:prstGeom>
          <a:solidFill>
            <a:schemeClr val="bg1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35" name="Straight Connector 34"/>
          <p:cNvCxnSpPr/>
          <p:nvPr/>
        </p:nvCxnSpPr>
        <p:spPr bwMode="auto">
          <a:xfrm>
            <a:off x="767408" y="297866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>
            <a:off x="767408" y="3410712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/>
          <p:cNvCxnSpPr/>
          <p:nvPr/>
        </p:nvCxnSpPr>
        <p:spPr bwMode="auto">
          <a:xfrm>
            <a:off x="767408" y="3870192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>
            <a:off x="767408" y="4302240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>
            <a:off x="767408" y="5229200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/>
        </p:nvCxnSpPr>
        <p:spPr bwMode="auto">
          <a:xfrm>
            <a:off x="767408" y="5661248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/>
          <p:nvPr/>
        </p:nvCxnSpPr>
        <p:spPr bwMode="auto">
          <a:xfrm>
            <a:off x="767408" y="2193614"/>
            <a:ext cx="1065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pic>
        <p:nvPicPr>
          <p:cNvPr id="42" name="Picture 8" descr="Afbeeldingsresultaat voor belgium 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6160" y="5296893"/>
            <a:ext cx="680968" cy="552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88053" y="3113032"/>
            <a:ext cx="2780555" cy="3744967"/>
          </a:xfrm>
          <a:prstGeom prst="rect">
            <a:avLst/>
          </a:prstGeom>
        </p:spPr>
      </p:pic>
      <p:sp>
        <p:nvSpPr>
          <p:cNvPr id="43" name="Oval 42">
            <a:extLst>
              <a:ext uri="{FF2B5EF4-FFF2-40B4-BE49-F238E27FC236}">
                <a16:creationId xmlns:a16="http://schemas.microsoft.com/office/drawing/2014/main" id="{D3CAA3CD-F6FB-874F-8B1B-B20AFCEE2D41}"/>
              </a:ext>
            </a:extLst>
          </p:cNvPr>
          <p:cNvSpPr/>
          <p:nvPr/>
        </p:nvSpPr>
        <p:spPr>
          <a:xfrm>
            <a:off x="7674408" y="166268"/>
            <a:ext cx="1316477" cy="1304724"/>
          </a:xfrm>
          <a:prstGeom prst="ellipse">
            <a:avLst/>
          </a:prstGeom>
          <a:solidFill>
            <a:schemeClr val="accent2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1400" b="1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PRESSIE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B63095C-F2A3-6140-AA5C-66582FBBE7D7}"/>
              </a:ext>
            </a:extLst>
          </p:cNvPr>
          <p:cNvGrpSpPr/>
          <p:nvPr/>
        </p:nvGrpSpPr>
        <p:grpSpPr>
          <a:xfrm>
            <a:off x="9264352" y="305426"/>
            <a:ext cx="2153198" cy="1128528"/>
            <a:chOff x="9264352" y="305426"/>
            <a:chExt cx="2153198" cy="1128528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6362C79-AB0A-E146-966D-B53509114A2D}"/>
                </a:ext>
              </a:extLst>
            </p:cNvPr>
            <p:cNvSpPr/>
            <p:nvPr/>
          </p:nvSpPr>
          <p:spPr bwMode="auto">
            <a:xfrm>
              <a:off x="9264352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AN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1FE018F-5F4F-DF43-9AA8-860ECE0F6841}"/>
                </a:ext>
              </a:extLst>
            </p:cNvPr>
            <p:cNvSpPr/>
            <p:nvPr/>
          </p:nvSpPr>
          <p:spPr bwMode="auto">
            <a:xfrm>
              <a:off x="10001773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FEB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E662D09-0612-0C4B-AD0B-2196BC0037B3}"/>
                </a:ext>
              </a:extLst>
            </p:cNvPr>
            <p:cNvSpPr/>
            <p:nvPr/>
          </p:nvSpPr>
          <p:spPr bwMode="auto">
            <a:xfrm>
              <a:off x="10739194" y="305426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AAR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02B378F-343C-5C45-AA8C-ED56191189D1}"/>
                </a:ext>
              </a:extLst>
            </p:cNvPr>
            <p:cNvSpPr/>
            <p:nvPr/>
          </p:nvSpPr>
          <p:spPr bwMode="auto">
            <a:xfrm>
              <a:off x="9264352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APRIL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F2F830E2-F048-8347-9B32-6B3E3A3130C8}"/>
                </a:ext>
              </a:extLst>
            </p:cNvPr>
            <p:cNvSpPr/>
            <p:nvPr/>
          </p:nvSpPr>
          <p:spPr bwMode="auto">
            <a:xfrm>
              <a:off x="10001773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ME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0DE6285F-7580-1546-8460-09EBE59A2ACC}"/>
                </a:ext>
              </a:extLst>
            </p:cNvPr>
            <p:cNvSpPr/>
            <p:nvPr/>
          </p:nvSpPr>
          <p:spPr bwMode="auto">
            <a:xfrm>
              <a:off x="10739194" y="60273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JUNI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12A50A5-C948-A141-A7B8-8DBE0E3C595D}"/>
                </a:ext>
              </a:extLst>
            </p:cNvPr>
            <p:cNvSpPr/>
            <p:nvPr/>
          </p:nvSpPr>
          <p:spPr bwMode="auto">
            <a:xfrm>
              <a:off x="9264352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JULI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4D3360A-BC92-B24A-872E-D8C3727AB9EF}"/>
                </a:ext>
              </a:extLst>
            </p:cNvPr>
            <p:cNvSpPr/>
            <p:nvPr/>
          </p:nvSpPr>
          <p:spPr bwMode="auto">
            <a:xfrm>
              <a:off x="10001773" y="896420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AUG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A0552D5D-6C5B-FC47-80A9-42A46C794CC2}"/>
                </a:ext>
              </a:extLst>
            </p:cNvPr>
            <p:cNvSpPr/>
            <p:nvPr/>
          </p:nvSpPr>
          <p:spPr bwMode="auto">
            <a:xfrm>
              <a:off x="10739194" y="896420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SEPT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65EBE88-3726-D843-A247-EC11384F9458}"/>
                </a:ext>
              </a:extLst>
            </p:cNvPr>
            <p:cNvSpPr/>
            <p:nvPr/>
          </p:nvSpPr>
          <p:spPr bwMode="auto">
            <a:xfrm>
              <a:off x="9264352" y="1190105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OKT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BF8B2C25-E1C4-7346-ACCF-39EDCF33AA20}"/>
                </a:ext>
              </a:extLst>
            </p:cNvPr>
            <p:cNvSpPr/>
            <p:nvPr/>
          </p:nvSpPr>
          <p:spPr bwMode="auto">
            <a:xfrm>
              <a:off x="10001773" y="1190105"/>
              <a:ext cx="678356" cy="243849"/>
            </a:xfrm>
            <a:prstGeom prst="rect">
              <a:avLst/>
            </a:prstGeom>
            <a:solidFill>
              <a:schemeClr val="accent2"/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NOV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0479A20-A3C5-3945-A2F0-0EF681566766}"/>
                </a:ext>
              </a:extLst>
            </p:cNvPr>
            <p:cNvSpPr/>
            <p:nvPr/>
          </p:nvSpPr>
          <p:spPr bwMode="auto">
            <a:xfrm>
              <a:off x="10739194" y="1190105"/>
              <a:ext cx="678356" cy="24384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400" dirty="0">
                  <a:solidFill>
                    <a:schemeClr val="bg1"/>
                  </a:solidFill>
                  <a:latin typeface="Calibri" panose="020F0502020204030204" pitchFamily="34" charset="0"/>
                </a:rPr>
                <a:t>DEC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389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338099" y="6453336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smtClean="0"/>
              <a:pPr/>
              <a:t>35</a:t>
            </a:fld>
            <a:endParaRPr lang="en-GB" altLang="en-US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6096000" y="3284539"/>
            <a:ext cx="1008112" cy="2485159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 flipH="1">
            <a:off x="6076896" y="2312793"/>
            <a:ext cx="2880320" cy="1008633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 flipH="1">
            <a:off x="2999656" y="3284539"/>
            <a:ext cx="3096344" cy="396927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Oval 9"/>
          <p:cNvSpPr/>
          <p:nvPr/>
        </p:nvSpPr>
        <p:spPr>
          <a:xfrm>
            <a:off x="4575244" y="1763516"/>
            <a:ext cx="2753816" cy="2753816"/>
          </a:xfrm>
          <a:prstGeom prst="ellipse">
            <a:avLst/>
          </a:prstGeom>
          <a:solidFill>
            <a:srgbClr val="0070C0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2400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eiligheid</a:t>
            </a:r>
            <a: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fr-BE" sz="2400" dirty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400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 het </a:t>
            </a:r>
            <a:br>
              <a:rPr lang="fr-BE" sz="2400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fr-BE" sz="2400" dirty="0" err="1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oorwegdomein</a:t>
            </a:r>
            <a:endParaRPr lang="fr-BE" sz="2400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1844664" y="2454633"/>
            <a:ext cx="2381824" cy="2381824"/>
          </a:xfrm>
          <a:prstGeom prst="ellipse">
            <a:avLst/>
          </a:prstGeom>
          <a:solidFill>
            <a:srgbClr val="FB8605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2400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VENTIE</a:t>
            </a:r>
            <a:endParaRPr lang="fr-BE" sz="2400" b="1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7967663" y="1340223"/>
            <a:ext cx="1945138" cy="194513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PRESSIE</a:t>
            </a:r>
            <a:endParaRPr lang="fr-BE" b="1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6096000" y="4723510"/>
            <a:ext cx="1945138" cy="194513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b="1" dirty="0" smtClean="0"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ENSIBILISERING</a:t>
            </a:r>
            <a:endParaRPr lang="fr-BE" b="1" dirty="0">
              <a:solidFill>
                <a:srgbClr val="FFFFF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0591" y="4126155"/>
            <a:ext cx="3672408" cy="1211153"/>
          </a:xfrm>
        </p:spPr>
        <p:txBody>
          <a:bodyPr/>
          <a:lstStyle/>
          <a:p>
            <a:pPr marL="0" lvl="1" indent="0" algn="ctr">
              <a:buNone/>
            </a:pPr>
            <a:r>
              <a:rPr lang="fr-BE" sz="2200" dirty="0" err="1" smtClean="0">
                <a:latin typeface="Calibri" panose="020F0502020204030204" pitchFamily="34" charset="0"/>
              </a:rPr>
              <a:t>Maatregelen</a:t>
            </a:r>
            <a:r>
              <a:rPr lang="fr-BE" sz="2200" dirty="0" smtClean="0">
                <a:latin typeface="Calibri" panose="020F0502020204030204" pitchFamily="34" charset="0"/>
              </a:rPr>
              <a:t/>
            </a:r>
            <a:br>
              <a:rPr lang="fr-BE" sz="2200" dirty="0" smtClean="0">
                <a:latin typeface="Calibri" panose="020F0502020204030204" pitchFamily="34" charset="0"/>
              </a:rPr>
            </a:br>
            <a:r>
              <a:rPr lang="fr-BE" sz="2200" dirty="0" err="1" smtClean="0">
                <a:latin typeface="Calibri" panose="020F0502020204030204" pitchFamily="34" charset="0"/>
              </a:rPr>
              <a:t>tegen</a:t>
            </a:r>
            <a:r>
              <a:rPr lang="fr-BE" sz="2200" dirty="0" smtClean="0">
                <a:latin typeface="Calibri" panose="020F0502020204030204" pitchFamily="34" charset="0"/>
              </a:rPr>
              <a:t> </a:t>
            </a:r>
            <a:r>
              <a:rPr lang="fr-BE" sz="2200" dirty="0" err="1" smtClean="0">
                <a:latin typeface="Calibri" panose="020F0502020204030204" pitchFamily="34" charset="0"/>
              </a:rPr>
              <a:t>spoorlopen</a:t>
            </a:r>
            <a:endParaRPr lang="fr-BE" sz="22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338099" y="6453336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b="0" smtClean="0"/>
              <a:pPr/>
              <a:t>36</a:t>
            </a:fld>
            <a:endParaRPr lang="en-GB" altLang="en-US" b="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66763" y="980735"/>
            <a:ext cx="10705573" cy="887413"/>
          </a:xfrm>
        </p:spPr>
        <p:txBody>
          <a:bodyPr/>
          <a:lstStyle/>
          <a:p>
            <a:pPr marL="0" indent="0" algn="ctr">
              <a:buNone/>
            </a:pPr>
            <a:r>
              <a:rPr lang="nl-BE" dirty="0"/>
              <a:t>Naast sensibiliseringscampagnes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en </a:t>
            </a:r>
            <a:r>
              <a:rPr lang="nl-BE" dirty="0"/>
              <a:t>- acties </a:t>
            </a:r>
            <a:r>
              <a:rPr lang="nl-BE" dirty="0" smtClean="0"/>
              <a:t>en repressie</a:t>
            </a:r>
            <a:endParaRPr lang="nl-BE" dirty="0"/>
          </a:p>
        </p:txBody>
      </p:sp>
      <p:sp>
        <p:nvSpPr>
          <p:cNvPr id="2" name="Down Arrow 1"/>
          <p:cNvSpPr/>
          <p:nvPr/>
        </p:nvSpPr>
        <p:spPr bwMode="auto">
          <a:xfrm>
            <a:off x="5629274" y="2120138"/>
            <a:ext cx="933451" cy="774762"/>
          </a:xfrm>
          <a:prstGeom prst="downArrow">
            <a:avLst/>
          </a:prstGeom>
          <a:solidFill>
            <a:srgbClr val="00B0F0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10155859" y="166268"/>
            <a:ext cx="1316477" cy="1304724"/>
          </a:xfrm>
          <a:prstGeom prst="ellipse">
            <a:avLst/>
          </a:prstGeom>
          <a:solidFill>
            <a:schemeClr val="accent2"/>
          </a:solidFill>
        </p:spPr>
        <p:txBody>
          <a:bodyPr wrap="none" anchor="ctr" anchorCtr="0">
            <a:noAutofit/>
          </a:bodyPr>
          <a:lstStyle/>
          <a:p>
            <a:pPr eaLnBrk="0" hangingPunct="0"/>
            <a:r>
              <a:rPr lang="fr-BE" sz="1400" b="1" dirty="0">
                <a:solidFill>
                  <a:schemeClr val="bg1"/>
                </a:solidFill>
                <a:latin typeface="Calibri" panose="020F0502020204030204" pitchFamily="34" charset="0"/>
              </a:rPr>
              <a:t>PREVENTIE</a:t>
            </a:r>
            <a:endParaRPr lang="fr-BE" sz="1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766763" y="3207373"/>
            <a:ext cx="10705573" cy="88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marL="0" indent="0" algn="ctr">
              <a:buNone/>
            </a:pPr>
            <a:r>
              <a:rPr lang="nl-BE" dirty="0"/>
              <a:t>Inspanning blijven leveren om de spoorinfrastructuur te verbeteren</a:t>
            </a:r>
            <a:endParaRPr lang="fr-BE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7114526" y="4130092"/>
            <a:ext cx="3672408" cy="1211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FontTx/>
              <a:buNone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77800" indent="-177800" algn="l" rtl="0" eaLnBrk="1" fontAlgn="base" hangingPunct="1">
              <a:spcBef>
                <a:spcPts val="0"/>
              </a:spcBef>
              <a:spcAft>
                <a:spcPts val="600"/>
              </a:spcAft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541338" indent="-363538" algn="l" rtl="0" eaLnBrk="1" fontAlgn="base" hangingPunct="1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à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715963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-"/>
              <a:defRPr sz="2000" i="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895350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1074738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1252538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1438275" indent="-185738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1616075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buFont typeface="Arial" pitchFamily="34" charset="0"/>
              <a:buNone/>
            </a:pPr>
            <a:r>
              <a:rPr lang="fr-BE" sz="2200" kern="0" dirty="0" err="1" smtClean="0"/>
              <a:t>Maatregelen</a:t>
            </a:r>
            <a:r>
              <a:rPr lang="fr-BE" sz="2200" kern="0" dirty="0" smtClean="0"/>
              <a:t> om de</a:t>
            </a:r>
            <a:br>
              <a:rPr lang="fr-BE" sz="2200" kern="0" dirty="0" smtClean="0"/>
            </a:br>
            <a:r>
              <a:rPr lang="fr-BE" sz="2200" kern="0" dirty="0" err="1" smtClean="0"/>
              <a:t>overwegen</a:t>
            </a:r>
            <a:r>
              <a:rPr lang="fr-BE" sz="2200" kern="0" dirty="0" smtClean="0"/>
              <a:t> </a:t>
            </a:r>
            <a:r>
              <a:rPr lang="fr-BE" sz="2200" kern="0" dirty="0" err="1" smtClean="0"/>
              <a:t>veiliger</a:t>
            </a:r>
            <a:r>
              <a:rPr lang="fr-BE" sz="2200" kern="0" dirty="0" smtClean="0"/>
              <a:t> te </a:t>
            </a:r>
            <a:r>
              <a:rPr lang="fr-BE" sz="2200" kern="0" dirty="0" err="1" smtClean="0"/>
              <a:t>maken</a:t>
            </a:r>
            <a:endParaRPr lang="fr-BE" sz="2200" kern="0" dirty="0"/>
          </a:p>
        </p:txBody>
      </p:sp>
      <p:sp>
        <p:nvSpPr>
          <p:cNvPr id="9" name="Isosceles Triangle 8"/>
          <p:cNvSpPr/>
          <p:nvPr/>
        </p:nvSpPr>
        <p:spPr bwMode="auto">
          <a:xfrm rot="10800000">
            <a:off x="3719736" y="3875192"/>
            <a:ext cx="334117" cy="198310"/>
          </a:xfrm>
          <a:prstGeom prst="triangle">
            <a:avLst/>
          </a:prstGeom>
          <a:solidFill>
            <a:srgbClr val="00B0F0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0" name="Isosceles Triangle 9"/>
          <p:cNvSpPr/>
          <p:nvPr/>
        </p:nvSpPr>
        <p:spPr bwMode="auto">
          <a:xfrm rot="10800000">
            <a:off x="8783671" y="3875192"/>
            <a:ext cx="334117" cy="198310"/>
          </a:xfrm>
          <a:prstGeom prst="triangle">
            <a:avLst/>
          </a:prstGeom>
          <a:solidFill>
            <a:srgbClr val="00B0F0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11" name="Afbeelding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314582" y="4953913"/>
            <a:ext cx="1272294" cy="136751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426484">
            <a:off x="3329392" y="5034997"/>
            <a:ext cx="1114805" cy="1114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4" name="Straight Connector 13"/>
          <p:cNvCxnSpPr/>
          <p:nvPr/>
        </p:nvCxnSpPr>
        <p:spPr bwMode="auto">
          <a:xfrm>
            <a:off x="1164544" y="3734176"/>
            <a:ext cx="9828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7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1224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0735"/>
            <a:ext cx="10705573" cy="887413"/>
          </a:xfrm>
        </p:spPr>
        <p:txBody>
          <a:bodyPr/>
          <a:lstStyle/>
          <a:p>
            <a:r>
              <a:rPr lang="nl-BE" dirty="0"/>
              <a:t>Maatregelen tegen spoorlopen </a:t>
            </a:r>
            <a:r>
              <a:rPr lang="fr-BE" dirty="0" smtClean="0"/>
              <a:t>2019</a:t>
            </a: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338099" y="6453336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smtClean="0"/>
              <a:pPr/>
              <a:t>37</a:t>
            </a:fld>
            <a:endParaRPr lang="en-GB" altLang="en-US"/>
          </a:p>
        </p:txBody>
      </p:sp>
      <p:pic>
        <p:nvPicPr>
          <p:cNvPr id="6" name="Picture 1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426484">
            <a:off x="10347575" y="553320"/>
            <a:ext cx="1114805" cy="1114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 bwMode="auto">
          <a:xfrm>
            <a:off x="766763" y="1872490"/>
            <a:ext cx="5053812" cy="213257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r>
              <a:rPr lang="nl-BE" b="1" dirty="0">
                <a:solidFill>
                  <a:srgbClr val="0070C0"/>
                </a:solidFill>
                <a:latin typeface="Calibri" panose="020F0502020204030204" pitchFamily="34" charset="0"/>
              </a:rPr>
              <a:t>Hermetisch </a:t>
            </a:r>
            <a:r>
              <a:rPr lang="nl-BE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afsluiten</a:t>
            </a:r>
            <a:r>
              <a:rPr lang="nl-BE" dirty="0" smtClean="0">
                <a:latin typeface="Calibri" panose="020F0502020204030204" pitchFamily="34" charset="0"/>
              </a:rPr>
              <a:t/>
            </a:r>
            <a:br>
              <a:rPr lang="nl-BE" dirty="0" smtClean="0">
                <a:latin typeface="Calibri" panose="020F0502020204030204" pitchFamily="34" charset="0"/>
              </a:rPr>
            </a:br>
            <a:r>
              <a:rPr lang="nl-BE" dirty="0" smtClean="0">
                <a:latin typeface="Calibri" panose="020F0502020204030204" pitchFamily="34" charset="0"/>
              </a:rPr>
              <a:t>van de </a:t>
            </a:r>
            <a:r>
              <a:rPr lang="nl-BE" dirty="0">
                <a:latin typeface="Calibri" panose="020F0502020204030204" pitchFamily="34" charset="0"/>
              </a:rPr>
              <a:t>gevoelige punten </a:t>
            </a:r>
            <a:r>
              <a:rPr lang="nl-BE" dirty="0" smtClean="0">
                <a:latin typeface="Calibri" panose="020F0502020204030204" pitchFamily="34" charset="0"/>
              </a:rPr>
              <a:t/>
            </a:r>
            <a:br>
              <a:rPr lang="nl-BE" dirty="0" smtClean="0">
                <a:latin typeface="Calibri" panose="020F0502020204030204" pitchFamily="34" charset="0"/>
              </a:rPr>
            </a:br>
            <a:r>
              <a:rPr lang="nl-BE" dirty="0" smtClean="0">
                <a:latin typeface="Calibri" panose="020F0502020204030204" pitchFamily="34" charset="0"/>
              </a:rPr>
              <a:t>van het spoorwegdomein.</a:t>
            </a:r>
          </a:p>
          <a:p>
            <a:pPr algn="l">
              <a:spcAft>
                <a:spcPts val="600"/>
              </a:spcAft>
            </a:pPr>
            <a:r>
              <a:rPr lang="nl-BE" dirty="0" smtClean="0">
                <a:latin typeface="Calibri" panose="020F0502020204030204" pitchFamily="34" charset="0"/>
              </a:rPr>
              <a:t>Eind </a:t>
            </a:r>
            <a:r>
              <a:rPr lang="nl-BE" dirty="0">
                <a:latin typeface="Calibri" panose="020F0502020204030204" pitchFamily="34" charset="0"/>
              </a:rPr>
              <a:t>2018 werd </a:t>
            </a:r>
            <a:r>
              <a:rPr lang="nl-BE" b="1" dirty="0">
                <a:solidFill>
                  <a:srgbClr val="0070C0"/>
                </a:solidFill>
                <a:latin typeface="Calibri" panose="020F0502020204030204" pitchFamily="34" charset="0"/>
              </a:rPr>
              <a:t>52.5% </a:t>
            </a:r>
            <a: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  <a:t>van </a:t>
            </a:r>
            <a:b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  <a:t>de </a:t>
            </a:r>
            <a:r>
              <a:rPr lang="nl-BE" dirty="0">
                <a:solidFill>
                  <a:srgbClr val="0070C0"/>
                </a:solidFill>
                <a:latin typeface="Calibri" panose="020F0502020204030204" pitchFamily="34" charset="0"/>
              </a:rPr>
              <a:t>44km afsluiting </a:t>
            </a:r>
            <a:r>
              <a:rPr lang="nl-BE" dirty="0" smtClean="0">
                <a:latin typeface="Calibri" panose="020F0502020204030204" pitchFamily="34" charset="0"/>
              </a:rPr>
              <a:t>geplaats</a:t>
            </a:r>
            <a:r>
              <a:rPr lang="nl-BE" dirty="0"/>
              <a:t>t. </a:t>
            </a:r>
            <a:endParaRPr lang="nl-BE" dirty="0" smtClean="0">
              <a:latin typeface="Calibri" panose="020F0502020204030204" pitchFamily="34" charset="0"/>
            </a:endParaRPr>
          </a:p>
          <a:p>
            <a:pPr algn="l">
              <a:spcAft>
                <a:spcPts val="600"/>
              </a:spcAft>
            </a:pPr>
            <a:r>
              <a:rPr lang="nl-BE" dirty="0" smtClean="0">
                <a:latin typeface="Calibri" panose="020F0502020204030204" pitchFamily="34" charset="0"/>
              </a:rPr>
              <a:t>In </a:t>
            </a:r>
            <a:r>
              <a:rPr lang="nl-BE" dirty="0">
                <a:latin typeface="Calibri" panose="020F0502020204030204" pitchFamily="34" charset="0"/>
              </a:rPr>
              <a:t>2019 worden nog </a:t>
            </a:r>
            <a:r>
              <a:rPr lang="nl-BE" dirty="0" smtClean="0">
                <a:latin typeface="Calibri" panose="020F0502020204030204" pitchFamily="34" charset="0"/>
              </a:rPr>
              <a:t>meer</a:t>
            </a:r>
            <a:br>
              <a:rPr lang="nl-BE" dirty="0" smtClean="0">
                <a:latin typeface="Calibri" panose="020F0502020204030204" pitchFamily="34" charset="0"/>
              </a:rPr>
            </a:br>
            <a:r>
              <a:rPr lang="nl-BE" dirty="0" smtClean="0">
                <a:latin typeface="Calibri" panose="020F0502020204030204" pitchFamily="34" charset="0"/>
              </a:rPr>
              <a:t>afsluitingen </a:t>
            </a:r>
            <a:r>
              <a:rPr lang="nl-BE" dirty="0">
                <a:latin typeface="Calibri" panose="020F0502020204030204" pitchFamily="34" charset="0"/>
              </a:rPr>
              <a:t>geplaatst.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6312024" y="1868147"/>
            <a:ext cx="5102882" cy="213257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r>
              <a:rPr lang="nl-BE" dirty="0">
                <a:latin typeface="Calibri" panose="020F0502020204030204" pitchFamily="34" charset="0"/>
              </a:rPr>
              <a:t>Plaatsen van </a:t>
            </a:r>
            <a:r>
              <a:rPr lang="nl-BE" b="1" dirty="0">
                <a:solidFill>
                  <a:srgbClr val="0070C0"/>
                </a:solidFill>
                <a:latin typeface="Calibri" panose="020F0502020204030204" pitchFamily="34" charset="0"/>
              </a:rPr>
              <a:t>struikelmatten</a:t>
            </a:r>
            <a:r>
              <a:rPr lang="nl-BE" dirty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nl-BE" dirty="0">
                <a:latin typeface="Calibri" panose="020F0502020204030204" pitchFamily="34" charset="0"/>
              </a:rPr>
              <a:t>om de toegang tot de meest risicovolle plaatsen te verhinderen</a:t>
            </a:r>
            <a:br>
              <a:rPr lang="nl-BE" dirty="0">
                <a:latin typeface="Calibri" panose="020F0502020204030204" pitchFamily="34" charset="0"/>
              </a:rPr>
            </a:br>
            <a:r>
              <a:rPr lang="nl-BE" dirty="0">
                <a:latin typeface="Calibri" panose="020F0502020204030204" pitchFamily="34" charset="0"/>
              </a:rPr>
              <a:t>(-/+ 70 doorgangen</a:t>
            </a:r>
            <a:r>
              <a:rPr lang="nl-BE" dirty="0" smtClean="0">
                <a:latin typeface="Calibri" panose="020F0502020204030204" pitchFamily="34" charset="0"/>
              </a:rPr>
              <a:t>).</a:t>
            </a:r>
          </a:p>
          <a:p>
            <a:pPr algn="l">
              <a:spcAft>
                <a:spcPts val="600"/>
              </a:spcAft>
            </a:pPr>
            <a:r>
              <a:rPr lang="nl-BE" dirty="0" smtClean="0">
                <a:latin typeface="Calibri" panose="020F0502020204030204" pitchFamily="34" charset="0"/>
              </a:rPr>
              <a:t>Eind </a:t>
            </a:r>
            <a:r>
              <a:rPr lang="nl-BE" dirty="0">
                <a:latin typeface="Calibri" panose="020F0502020204030204" pitchFamily="34" charset="0"/>
              </a:rPr>
              <a:t>2018 </a:t>
            </a:r>
            <a:r>
              <a:rPr lang="nl-BE" dirty="0">
                <a:solidFill>
                  <a:srgbClr val="0070C0"/>
                </a:solidFill>
                <a:latin typeface="Calibri" panose="020F0502020204030204" pitchFamily="34" charset="0"/>
              </a:rPr>
              <a:t>waren </a:t>
            </a:r>
            <a:r>
              <a:rPr lang="nl-BE" b="1" dirty="0">
                <a:solidFill>
                  <a:srgbClr val="0070C0"/>
                </a:solidFill>
                <a:latin typeface="Calibri" panose="020F0502020204030204" pitchFamily="34" charset="0"/>
              </a:rPr>
              <a:t>32</a:t>
            </a:r>
            <a:r>
              <a:rPr lang="nl-BE" dirty="0">
                <a:solidFill>
                  <a:srgbClr val="0070C0"/>
                </a:solidFill>
                <a:latin typeface="Calibri" panose="020F0502020204030204" pitchFamily="34" charset="0"/>
              </a:rPr>
              <a:t> OW </a:t>
            </a:r>
            <a: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  <a:t/>
            </a:r>
            <a:b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  <a:t>uitgerust </a:t>
            </a:r>
            <a:r>
              <a:rPr lang="nl-BE" dirty="0" smtClean="0">
                <a:latin typeface="Calibri" panose="020F0502020204030204" pitchFamily="34" charset="0"/>
              </a:rPr>
              <a:t>met </a:t>
            </a:r>
            <a:r>
              <a:rPr lang="nl-BE" dirty="0">
                <a:latin typeface="Calibri" panose="020F0502020204030204" pitchFamily="34" charset="0"/>
              </a:rPr>
              <a:t>struikelmatten. </a:t>
            </a:r>
            <a:endParaRPr lang="nl-BE" dirty="0" smtClean="0">
              <a:latin typeface="Calibri" panose="020F0502020204030204" pitchFamily="34" charset="0"/>
            </a:endParaRPr>
          </a:p>
          <a:p>
            <a:pPr algn="l">
              <a:spcAft>
                <a:spcPts val="600"/>
              </a:spcAft>
            </a:pPr>
            <a:r>
              <a:rPr lang="nl-BE" dirty="0" smtClean="0">
                <a:latin typeface="Calibri" panose="020F0502020204030204" pitchFamily="34" charset="0"/>
              </a:rPr>
              <a:t>In </a:t>
            </a:r>
            <a:r>
              <a:rPr lang="nl-BE" dirty="0">
                <a:latin typeface="Calibri" panose="020F0502020204030204" pitchFamily="34" charset="0"/>
              </a:rPr>
              <a:t>2019 worden er op 19 OW </a:t>
            </a:r>
            <a:r>
              <a:rPr lang="nl-BE" dirty="0" smtClean="0">
                <a:latin typeface="Calibri" panose="020F0502020204030204" pitchFamily="34" charset="0"/>
              </a:rPr>
              <a:t/>
            </a:r>
            <a:br>
              <a:rPr lang="nl-BE" dirty="0" smtClean="0">
                <a:latin typeface="Calibri" panose="020F0502020204030204" pitchFamily="34" charset="0"/>
              </a:rPr>
            </a:br>
            <a:r>
              <a:rPr lang="nl-BE" dirty="0" smtClean="0">
                <a:latin typeface="Calibri" panose="020F0502020204030204" pitchFamily="34" charset="0"/>
              </a:rPr>
              <a:t>struikelmatten </a:t>
            </a:r>
            <a:r>
              <a:rPr lang="nl-BE" dirty="0">
                <a:latin typeface="Calibri" panose="020F0502020204030204" pitchFamily="34" charset="0"/>
              </a:rPr>
              <a:t>geplaatst.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766763" y="4320763"/>
            <a:ext cx="5081779" cy="213257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r>
              <a:rPr lang="nl-BE" dirty="0">
                <a:latin typeface="Calibri" panose="020F0502020204030204" pitchFamily="34" charset="0"/>
              </a:rPr>
              <a:t>Plaatsen van </a:t>
            </a:r>
            <a:r>
              <a:rPr lang="nl-BE" b="1" dirty="0">
                <a:solidFill>
                  <a:srgbClr val="0070C0"/>
                </a:solidFill>
                <a:latin typeface="Calibri" panose="020F0502020204030204" pitchFamily="34" charset="0"/>
              </a:rPr>
              <a:t>borden</a:t>
            </a:r>
            <a:r>
              <a:rPr lang="nl-BE" dirty="0">
                <a:latin typeface="Calibri" panose="020F0502020204030204" pitchFamily="34" charset="0"/>
              </a:rPr>
              <a:t> “verboden over te steken” in stations/op perrons. </a:t>
            </a:r>
            <a:endParaRPr lang="nl-BE" dirty="0" smtClean="0">
              <a:latin typeface="Calibri" panose="020F0502020204030204" pitchFamily="34" charset="0"/>
            </a:endParaRPr>
          </a:p>
          <a:p>
            <a:pPr algn="l">
              <a:spcAft>
                <a:spcPts val="600"/>
              </a:spcAft>
            </a:pPr>
            <a:r>
              <a:rPr lang="nl-BE" dirty="0" smtClean="0">
                <a:latin typeface="Calibri" panose="020F0502020204030204" pitchFamily="34" charset="0"/>
              </a:rPr>
              <a:t>Eind </a:t>
            </a:r>
            <a:r>
              <a:rPr lang="nl-BE" dirty="0">
                <a:latin typeface="Calibri" panose="020F0502020204030204" pitchFamily="34" charset="0"/>
              </a:rPr>
              <a:t>2018 stonden er in </a:t>
            </a:r>
            <a:r>
              <a:rPr lang="nl-BE" dirty="0">
                <a:solidFill>
                  <a:srgbClr val="0070C0"/>
                </a:solidFill>
                <a:latin typeface="Calibri" panose="020F0502020204030204" pitchFamily="34" charset="0"/>
              </a:rPr>
              <a:t>80% </a:t>
            </a:r>
            <a:r>
              <a:rPr lang="nl-BE" dirty="0">
                <a:latin typeface="Calibri" panose="020F0502020204030204" pitchFamily="34" charset="0"/>
              </a:rPr>
              <a:t>van de stations verbodsborden op de perronboorden.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6312024" y="4320763"/>
            <a:ext cx="5102882" cy="2132573"/>
          </a:xfrm>
          <a:prstGeom prst="rect">
            <a:avLst/>
          </a:prstGeom>
          <a:solidFill>
            <a:schemeClr val="bg1">
              <a:lumMod val="95000"/>
            </a:schemeClr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>
              <a:spcAft>
                <a:spcPts val="600"/>
              </a:spcAft>
            </a:pPr>
            <a:r>
              <a:rPr lang="nl-BE" dirty="0">
                <a:latin typeface="Calibri" panose="020F0502020204030204" pitchFamily="34" charset="0"/>
              </a:rPr>
              <a:t>Plaatsen van </a:t>
            </a:r>
            <a:r>
              <a:rPr lang="nl-BE" b="1" dirty="0">
                <a:solidFill>
                  <a:srgbClr val="0070C0"/>
                </a:solidFill>
                <a:latin typeface="Calibri" panose="020F0502020204030204" pitchFamily="34" charset="0"/>
              </a:rPr>
              <a:t>bewakingscamera’s &amp; </a:t>
            </a:r>
            <a:r>
              <a:rPr lang="nl-BE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/>
            </a:r>
            <a:br>
              <a:rPr lang="nl-BE" b="1" dirty="0" smtClean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nl-BE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alarmsystemen </a:t>
            </a:r>
            <a:r>
              <a:rPr lang="nl-BE" dirty="0">
                <a:latin typeface="Calibri" panose="020F0502020204030204" pitchFamily="34" charset="0"/>
              </a:rPr>
              <a:t>aan de inrit van een tunnel (luidsprekers</a:t>
            </a:r>
            <a:r>
              <a:rPr lang="nl-BE" dirty="0" smtClean="0">
                <a:latin typeface="Calibri" panose="020F0502020204030204" pitchFamily="34" charset="0"/>
              </a:rPr>
              <a:t>).</a:t>
            </a:r>
            <a: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</a:p>
          <a:p>
            <a:pPr algn="l">
              <a:spcAft>
                <a:spcPts val="600"/>
              </a:spcAft>
            </a:pPr>
            <a: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  <a:t>Proefproject </a:t>
            </a:r>
            <a:r>
              <a:rPr lang="nl-BE" dirty="0">
                <a:latin typeface="Calibri" panose="020F0502020204030204" pitchFamily="34" charset="0"/>
              </a:rPr>
              <a:t>in 2018 in </a:t>
            </a:r>
            <a:r>
              <a:rPr lang="nl-BE" dirty="0">
                <a:solidFill>
                  <a:srgbClr val="0070C0"/>
                </a:solidFill>
                <a:latin typeface="Calibri" panose="020F0502020204030204" pitchFamily="34" charset="0"/>
              </a:rPr>
              <a:t>Luik-Paleis en </a:t>
            </a:r>
            <a: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  <a:t/>
            </a:r>
            <a:b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</a:br>
            <a:r>
              <a:rPr lang="nl-BE" dirty="0" smtClean="0">
                <a:solidFill>
                  <a:srgbClr val="0070C0"/>
                </a:solidFill>
                <a:latin typeface="Calibri" panose="020F0502020204030204" pitchFamily="34" charset="0"/>
              </a:rPr>
              <a:t>Luik-</a:t>
            </a:r>
            <a:r>
              <a:rPr lang="nl-BE" dirty="0" err="1" smtClean="0">
                <a:solidFill>
                  <a:srgbClr val="0070C0"/>
                </a:solidFill>
                <a:latin typeface="Calibri" panose="020F0502020204030204" pitchFamily="34" charset="0"/>
              </a:rPr>
              <a:t>Jonfosse</a:t>
            </a:r>
            <a:r>
              <a:rPr lang="nl-BE" dirty="0">
                <a:solidFill>
                  <a:srgbClr val="0070C0"/>
                </a:solidFill>
                <a:latin typeface="Calibri" panose="020F0502020204030204" pitchFamily="34" charset="0"/>
              </a:rPr>
              <a:t>. </a:t>
            </a:r>
            <a:endParaRPr lang="nl-BE" dirty="0" smtClean="0">
              <a:solidFill>
                <a:srgbClr val="0070C0"/>
              </a:solidFill>
              <a:latin typeface="Calibri" panose="020F0502020204030204" pitchFamily="34" charset="0"/>
            </a:endParaRPr>
          </a:p>
          <a:p>
            <a:pPr algn="l">
              <a:spcAft>
                <a:spcPts val="600"/>
              </a:spcAft>
            </a:pPr>
            <a:r>
              <a:rPr lang="nl-BE" dirty="0" smtClean="0">
                <a:latin typeface="Calibri" panose="020F0502020204030204" pitchFamily="34" charset="0"/>
              </a:rPr>
              <a:t>In </a:t>
            </a:r>
            <a:r>
              <a:rPr lang="nl-BE" dirty="0">
                <a:latin typeface="Calibri" panose="020F0502020204030204" pitchFamily="34" charset="0"/>
              </a:rPr>
              <a:t>2019 is een nieuw project gepland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74903" y="3933056"/>
            <a:ext cx="1584177" cy="252028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352" y="2658649"/>
            <a:ext cx="2368082" cy="1251778"/>
          </a:xfrm>
          <a:prstGeom prst="rect">
            <a:avLst/>
          </a:prstGeom>
        </p:spPr>
      </p:pic>
      <p:pic>
        <p:nvPicPr>
          <p:cNvPr id="18434" name="Picture 2" descr="Afbeeldingsresultaat voor fence pn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75721" y="1868147"/>
            <a:ext cx="2292130" cy="2136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9151178" y="580647"/>
            <a:ext cx="1145800" cy="1106865"/>
            <a:chOff x="9151178" y="580647"/>
            <a:chExt cx="1145800" cy="1106865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51178" y="580647"/>
              <a:ext cx="1145800" cy="1106865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9208078" y="951059"/>
              <a:ext cx="10502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ONGOING</a:t>
              </a: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7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618336">
              <a:off x="9606014" y="1147101"/>
              <a:ext cx="280569" cy="280569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7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618336" flipH="1" flipV="1">
              <a:off x="9645872" y="823839"/>
              <a:ext cx="280569" cy="280569"/>
            </a:xfrm>
            <a:prstGeom prst="rect">
              <a:avLst/>
            </a:prstGeom>
          </p:spPr>
        </p:pic>
      </p:grpSp>
      <p:pic>
        <p:nvPicPr>
          <p:cNvPr id="25" name="Image 1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812" y="5661248"/>
            <a:ext cx="3906362" cy="1041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497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0735"/>
            <a:ext cx="10705573" cy="887413"/>
          </a:xfrm>
        </p:spPr>
        <p:txBody>
          <a:bodyPr/>
          <a:lstStyle/>
          <a:p>
            <a:r>
              <a:rPr lang="nl-BE" dirty="0"/>
              <a:t>Maatregelen om de overwegen in 2019 veiliger te maken</a:t>
            </a:r>
            <a:endParaRPr lang="fr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6291" y="1916112"/>
            <a:ext cx="3241005" cy="4537075"/>
          </a:xfrm>
          <a:solidFill>
            <a:schemeClr val="bg1">
              <a:lumMod val="95000"/>
            </a:schemeClr>
          </a:solidFill>
        </p:spPr>
        <p:txBody>
          <a:bodyPr lIns="72000" tIns="72000" rIns="72000"/>
          <a:lstStyle/>
          <a:p>
            <a:pPr>
              <a:spcAft>
                <a:spcPts val="1000"/>
              </a:spcAft>
            </a:pPr>
            <a:r>
              <a:rPr lang="nl-BE" dirty="0"/>
              <a:t>Aanbrengen van </a:t>
            </a:r>
            <a:r>
              <a:rPr lang="nl-BE" b="1" dirty="0">
                <a:solidFill>
                  <a:srgbClr val="0070C0"/>
                </a:solidFill>
              </a:rPr>
              <a:t>identificatiestickers</a:t>
            </a:r>
            <a:r>
              <a:rPr lang="nl-BE" dirty="0"/>
              <a:t>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aan </a:t>
            </a:r>
            <a:r>
              <a:rPr lang="nl-BE" dirty="0"/>
              <a:t>overwegen,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project </a:t>
            </a:r>
            <a:br>
              <a:rPr lang="nl-BE" dirty="0" smtClean="0"/>
            </a:br>
            <a:r>
              <a:rPr lang="nl-BE" dirty="0" smtClean="0"/>
              <a:t>uitgevoerd </a:t>
            </a:r>
            <a:br>
              <a:rPr lang="nl-BE" dirty="0" smtClean="0"/>
            </a:br>
            <a:r>
              <a:rPr lang="nl-BE" dirty="0" smtClean="0"/>
              <a:t>in </a:t>
            </a:r>
            <a:r>
              <a:rPr lang="nl-BE" dirty="0"/>
              <a:t>2019</a:t>
            </a:r>
          </a:p>
          <a:p>
            <a:pPr marL="0" indent="0" algn="ctr">
              <a:spcAft>
                <a:spcPts val="1000"/>
              </a:spcAft>
              <a:buNone/>
            </a:pP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352584" y="6453336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b="0" smtClean="0"/>
              <a:pPr/>
              <a:t>38</a:t>
            </a:fld>
            <a:endParaRPr lang="en-GB" altLang="en-US" b="0"/>
          </a:p>
        </p:txBody>
      </p:sp>
      <p:pic>
        <p:nvPicPr>
          <p:cNvPr id="5" name="Afbeelding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723636" y="697466"/>
            <a:ext cx="1257895" cy="10140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2320" y="580647"/>
            <a:ext cx="1145800" cy="1106865"/>
          </a:xfrm>
          <a:prstGeom prst="rect">
            <a:avLst/>
          </a:prstGeom>
        </p:spPr>
      </p:pic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4485025" y="1916112"/>
            <a:ext cx="3241005" cy="45370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FontTx/>
              <a:buNone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77800" indent="-177800" algn="l" rtl="0" eaLnBrk="1" fontAlgn="base" hangingPunct="1">
              <a:spcBef>
                <a:spcPts val="0"/>
              </a:spcBef>
              <a:spcAft>
                <a:spcPts val="600"/>
              </a:spcAft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541338" indent="-363538" algn="l" rtl="0" eaLnBrk="1" fontAlgn="base" hangingPunct="1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à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715963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-"/>
              <a:defRPr sz="2000" i="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895350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1074738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1252538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1438275" indent="-185738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1616075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nl-BE" dirty="0"/>
              <a:t>Plaatsen van </a:t>
            </a:r>
            <a:r>
              <a:rPr lang="nl-BE" dirty="0" err="1" smtClean="0"/>
              <a:t>waarschuwings-borden</a:t>
            </a:r>
            <a:r>
              <a:rPr lang="nl-BE" dirty="0" smtClean="0"/>
              <a:t> </a:t>
            </a:r>
            <a:r>
              <a:rPr lang="nl-BE" dirty="0"/>
              <a:t>om </a:t>
            </a:r>
            <a:r>
              <a:rPr lang="nl-BE" b="1" dirty="0" err="1">
                <a:solidFill>
                  <a:srgbClr val="0070C0"/>
                </a:solidFill>
              </a:rPr>
              <a:t>blocking</a:t>
            </a:r>
            <a:r>
              <a:rPr lang="nl-BE" b="1" dirty="0">
                <a:solidFill>
                  <a:srgbClr val="0070C0"/>
                </a:solidFill>
              </a:rPr>
              <a:t> back </a:t>
            </a:r>
            <a:r>
              <a:rPr lang="nl-BE" dirty="0"/>
              <a:t>tegen te gaan, proefproject voorzien in 2019 </a:t>
            </a:r>
            <a:r>
              <a:rPr lang="nl-BE" dirty="0" smtClean="0"/>
              <a:t>(18 </a:t>
            </a:r>
            <a:r>
              <a:rPr lang="nl-BE" dirty="0"/>
              <a:t>OW)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8175465" y="1916112"/>
            <a:ext cx="3241005" cy="45370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FontTx/>
              <a:buNone/>
              <a:defRPr sz="20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77800" indent="-177800" algn="l" rtl="0" eaLnBrk="1" fontAlgn="base" hangingPunct="1">
              <a:spcBef>
                <a:spcPts val="0"/>
              </a:spcBef>
              <a:spcAft>
                <a:spcPts val="600"/>
              </a:spcAft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541338" indent="-363538" algn="l" rtl="0" eaLnBrk="1" fontAlgn="base" hangingPunct="1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à"/>
              <a:tabLst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715963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-"/>
              <a:defRPr sz="2000" i="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895350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1074738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1252538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1438275" indent="-185738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1616075" indent="-177800" algn="l" rtl="0" eaLnBrk="1" fontAlgn="base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nl-BE" dirty="0"/>
              <a:t>Plaatsen van 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knipperende </a:t>
            </a:r>
            <a:br>
              <a:rPr lang="nl-BE" dirty="0" smtClean="0"/>
            </a:br>
            <a:r>
              <a:rPr lang="nl-BE" b="1" dirty="0" err="1" smtClean="0">
                <a:solidFill>
                  <a:srgbClr val="0070C0"/>
                </a:solidFill>
              </a:rPr>
              <a:t>led-verlichting</a:t>
            </a:r>
            <a:r>
              <a:rPr lang="nl-BE" dirty="0" smtClean="0"/>
              <a:t> </a:t>
            </a:r>
            <a:br>
              <a:rPr lang="nl-BE" dirty="0" smtClean="0"/>
            </a:br>
            <a:endParaRPr lang="nl-BE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92697" y="2564905"/>
            <a:ext cx="2812021" cy="432048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1286" y="5542762"/>
            <a:ext cx="478946" cy="76952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22" y="4317366"/>
            <a:ext cx="1247319" cy="2004060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 bwMode="auto">
          <a:xfrm flipH="1" flipV="1">
            <a:off x="2171641" y="4317366"/>
            <a:ext cx="959645" cy="12253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 flipH="1">
            <a:off x="2180620" y="6312282"/>
            <a:ext cx="9593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Box 19"/>
          <p:cNvSpPr txBox="1"/>
          <p:nvPr/>
        </p:nvSpPr>
        <p:spPr>
          <a:xfrm>
            <a:off x="9896946" y="923627"/>
            <a:ext cx="7104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NEW</a:t>
            </a:r>
            <a:endParaRPr lang="en-GB" sz="20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494" y="3443514"/>
            <a:ext cx="2077933" cy="2877912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7407" y="4576697"/>
            <a:ext cx="3037120" cy="1744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5625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051" y="-14288"/>
            <a:ext cx="12211051" cy="687578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70985" y="4390232"/>
            <a:ext cx="10873316" cy="887413"/>
          </a:xfrm>
        </p:spPr>
        <p:txBody>
          <a:bodyPr/>
          <a:lstStyle/>
          <a:p>
            <a:pPr algn="ctr"/>
            <a:r>
              <a:rPr lang="fr-BE" sz="4400">
                <a:solidFill>
                  <a:schemeClr val="bg1"/>
                </a:solidFill>
                <a:latin typeface="Calibri" panose="020F0502020204030204" pitchFamily="34" charset="0"/>
              </a:rPr>
              <a:t>4. Plann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13FC84-0536-1543-84B1-45C63D659B76}"/>
              </a:ext>
            </a:extLst>
          </p:cNvPr>
          <p:cNvSpPr/>
          <p:nvPr/>
        </p:nvSpPr>
        <p:spPr>
          <a:xfrm flipH="1" flipV="1">
            <a:off x="-28899" y="1821"/>
            <a:ext cx="2891517" cy="6856180"/>
          </a:xfrm>
          <a:custGeom>
            <a:avLst/>
            <a:gdLst>
              <a:gd name="connsiteX0" fmla="*/ 0 w 4455622"/>
              <a:gd name="connsiteY0" fmla="*/ 0 h 2664229"/>
              <a:gd name="connsiteX1" fmla="*/ 4455622 w 4455622"/>
              <a:gd name="connsiteY1" fmla="*/ 0 h 2664229"/>
              <a:gd name="connsiteX2" fmla="*/ 4455622 w 4455622"/>
              <a:gd name="connsiteY2" fmla="*/ 2664229 h 2664229"/>
              <a:gd name="connsiteX3" fmla="*/ 0 w 4455622"/>
              <a:gd name="connsiteY3" fmla="*/ 2664229 h 2664229"/>
              <a:gd name="connsiteX4" fmla="*/ 0 w 4455622"/>
              <a:gd name="connsiteY4" fmla="*/ 0 h 2664229"/>
              <a:gd name="connsiteX0" fmla="*/ 2111432 w 6567054"/>
              <a:gd name="connsiteY0" fmla="*/ 0 h 6870469"/>
              <a:gd name="connsiteX1" fmla="*/ 6567054 w 6567054"/>
              <a:gd name="connsiteY1" fmla="*/ 0 h 6870469"/>
              <a:gd name="connsiteX2" fmla="*/ 6567054 w 6567054"/>
              <a:gd name="connsiteY2" fmla="*/ 2664229 h 6870469"/>
              <a:gd name="connsiteX3" fmla="*/ 0 w 6567054"/>
              <a:gd name="connsiteY3" fmla="*/ 6870469 h 6870469"/>
              <a:gd name="connsiteX4" fmla="*/ 2111432 w 6567054"/>
              <a:gd name="connsiteY4" fmla="*/ 0 h 6870469"/>
              <a:gd name="connsiteX0" fmla="*/ 2111432 w 7356763"/>
              <a:gd name="connsiteY0" fmla="*/ 0 h 6870469"/>
              <a:gd name="connsiteX1" fmla="*/ 6567054 w 7356763"/>
              <a:gd name="connsiteY1" fmla="*/ 0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7306887 w 7356763"/>
              <a:gd name="connsiteY1" fmla="*/ 8313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6991004 w 7356763"/>
              <a:gd name="connsiteY1" fmla="*/ 41564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4"/>
              <a:gd name="connsiteY0" fmla="*/ 0 h 6870469"/>
              <a:gd name="connsiteX1" fmla="*/ 7356764 w 7356764"/>
              <a:gd name="connsiteY1" fmla="*/ 33252 h 6870469"/>
              <a:gd name="connsiteX2" fmla="*/ 7356763 w 7356764"/>
              <a:gd name="connsiteY2" fmla="*/ 6870469 h 6870469"/>
              <a:gd name="connsiteX3" fmla="*/ 0 w 7356764"/>
              <a:gd name="connsiteY3" fmla="*/ 6870469 h 6870469"/>
              <a:gd name="connsiteX4" fmla="*/ 2111432 w 7356764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7356763 w 7365077"/>
              <a:gd name="connsiteY2" fmla="*/ 6870469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4434969 w 7365077"/>
              <a:gd name="connsiteY2" fmla="*/ 6820462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5270787 w 7365077"/>
              <a:gd name="connsiteY2" fmla="*/ 6849037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5270787"/>
              <a:gd name="connsiteY0" fmla="*/ 0 h 6870469"/>
              <a:gd name="connsiteX1" fmla="*/ 4278977 w 5270787"/>
              <a:gd name="connsiteY1" fmla="*/ 273801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70787"/>
              <a:gd name="connsiteY0" fmla="*/ 0 h 6870469"/>
              <a:gd name="connsiteX1" fmla="*/ 5257670 w 5270787"/>
              <a:gd name="connsiteY1" fmla="*/ 16626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57670"/>
              <a:gd name="connsiteY0" fmla="*/ 0 h 6870469"/>
              <a:gd name="connsiteX1" fmla="*/ 5257670 w 5257670"/>
              <a:gd name="connsiteY1" fmla="*/ 16626 h 6870469"/>
              <a:gd name="connsiteX2" fmla="*/ 5192206 w 5257670"/>
              <a:gd name="connsiteY2" fmla="*/ 6677587 h 6870469"/>
              <a:gd name="connsiteX3" fmla="*/ 0 w 5257670"/>
              <a:gd name="connsiteY3" fmla="*/ 6870469 h 6870469"/>
              <a:gd name="connsiteX4" fmla="*/ 2111432 w 5257670"/>
              <a:gd name="connsiteY4" fmla="*/ 0 h 6870469"/>
              <a:gd name="connsiteX0" fmla="*/ 2111432 w 5277931"/>
              <a:gd name="connsiteY0" fmla="*/ 0 h 6877612"/>
              <a:gd name="connsiteX1" fmla="*/ 5257670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143370 w 5277931"/>
              <a:gd name="connsiteY1" fmla="*/ 12378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271957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3357432 w 5277931"/>
              <a:gd name="connsiteY1" fmla="*/ 59489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721638 w 5277931"/>
              <a:gd name="connsiteY1" fmla="*/ 50240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171569 w 5277931"/>
              <a:gd name="connsiteY1" fmla="*/ 873877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1677481 w 2171569"/>
              <a:gd name="connsiteY2" fmla="*/ 6556143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2163256 w 2171569"/>
              <a:gd name="connsiteY2" fmla="*/ 6856180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63256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066338 w 2164425"/>
              <a:gd name="connsiteY2" fmla="*/ 6799423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54829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098790 w 2151783"/>
              <a:gd name="connsiteY0" fmla="*/ 19092 h 6875272"/>
              <a:gd name="connsiteX1" fmla="*/ 2151783 w 2151783"/>
              <a:gd name="connsiteY1" fmla="*/ 0 h 6875272"/>
              <a:gd name="connsiteX2" fmla="*/ 2142187 w 2151783"/>
              <a:gd name="connsiteY2" fmla="*/ 6875272 h 6875272"/>
              <a:gd name="connsiteX3" fmla="*/ 0 w 2151783"/>
              <a:gd name="connsiteY3" fmla="*/ 6838995 h 6875272"/>
              <a:gd name="connsiteX4" fmla="*/ 2098790 w 2151783"/>
              <a:gd name="connsiteY4" fmla="*/ 19092 h 6875272"/>
              <a:gd name="connsiteX0" fmla="*/ 2107218 w 2160211"/>
              <a:gd name="connsiteY0" fmla="*/ 19092 h 6875272"/>
              <a:gd name="connsiteX1" fmla="*/ 2160211 w 2160211"/>
              <a:gd name="connsiteY1" fmla="*/ 0 h 6875272"/>
              <a:gd name="connsiteX2" fmla="*/ 2150615 w 2160211"/>
              <a:gd name="connsiteY2" fmla="*/ 6875272 h 6875272"/>
              <a:gd name="connsiteX3" fmla="*/ 0 w 2160211"/>
              <a:gd name="connsiteY3" fmla="*/ 6872705 h 6875272"/>
              <a:gd name="connsiteX4" fmla="*/ 2107218 w 2160211"/>
              <a:gd name="connsiteY4" fmla="*/ 19092 h 6875272"/>
              <a:gd name="connsiteX0" fmla="*/ 2107218 w 2168638"/>
              <a:gd name="connsiteY0" fmla="*/ 0 h 6856180"/>
              <a:gd name="connsiteX1" fmla="*/ 2168638 w 2168638"/>
              <a:gd name="connsiteY1" fmla="*/ 1978 h 6856180"/>
              <a:gd name="connsiteX2" fmla="*/ 2150615 w 2168638"/>
              <a:gd name="connsiteY2" fmla="*/ 6856180 h 6856180"/>
              <a:gd name="connsiteX3" fmla="*/ 0 w 2168638"/>
              <a:gd name="connsiteY3" fmla="*/ 6853613 h 6856180"/>
              <a:gd name="connsiteX4" fmla="*/ 2107218 w 2168638"/>
              <a:gd name="connsiteY4" fmla="*/ 0 h 6856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8638" h="6856180">
                <a:moveTo>
                  <a:pt x="2107218" y="0"/>
                </a:moveTo>
                <a:lnTo>
                  <a:pt x="2168638" y="1978"/>
                </a:lnTo>
                <a:cubicBezTo>
                  <a:pt x="2168638" y="2281050"/>
                  <a:pt x="2150615" y="4577108"/>
                  <a:pt x="2150615" y="6856180"/>
                </a:cubicBezTo>
                <a:lnTo>
                  <a:pt x="0" y="6853613"/>
                </a:lnTo>
                <a:lnTo>
                  <a:pt x="2107218" y="0"/>
                </a:lnTo>
                <a:close/>
              </a:path>
            </a:pathLst>
          </a:custGeom>
          <a:solidFill>
            <a:schemeClr val="bg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/>
              <a:t>    </a:t>
            </a: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4362451" y="5143500"/>
            <a:ext cx="348614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01231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07" t="24642" r="3691" b="15343"/>
          <a:stretch/>
        </p:blipFill>
        <p:spPr>
          <a:xfrm>
            <a:off x="-24680" y="1556791"/>
            <a:ext cx="12241360" cy="53012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400" y="2512604"/>
            <a:ext cx="478537" cy="1417323"/>
          </a:xfrm>
          <a:prstGeom prst="rect">
            <a:avLst/>
          </a:prstGeom>
        </p:spPr>
      </p:pic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62104" y="6453343"/>
            <a:ext cx="590549" cy="252413"/>
          </a:xfrm>
          <a:prstGeom prst="rect">
            <a:avLst/>
          </a:prstGeom>
        </p:spPr>
        <p:txBody>
          <a:bodyPr/>
          <a:lstStyle/>
          <a:p>
            <a:r>
              <a:rPr lang="fr-BE" dirty="0"/>
              <a:t>4</a:t>
            </a:r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41A47663-B5EA-5E46-94B1-23BC93506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81082"/>
            <a:ext cx="10705573" cy="887413"/>
          </a:xfrm>
        </p:spPr>
        <p:txBody>
          <a:bodyPr/>
          <a:lstStyle/>
          <a:p>
            <a:r>
              <a:rPr lang="nl-BE" dirty="0"/>
              <a:t>Veiligheid aan overwegen - balans 201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6109C5-D051-6F47-80AB-2C0CEF861849}"/>
              </a:ext>
            </a:extLst>
          </p:cNvPr>
          <p:cNvSpPr txBox="1"/>
          <p:nvPr/>
        </p:nvSpPr>
        <p:spPr>
          <a:xfrm>
            <a:off x="1127448" y="2623310"/>
            <a:ext cx="12414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nl-BE" dirty="0">
                <a:solidFill>
                  <a:schemeClr val="bg1"/>
                </a:solidFill>
                <a:latin typeface="Calibri" panose="020F0502020204030204" pitchFamily="34" charset="0"/>
              </a:rPr>
              <a:t>ONGEVALLEN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04EA55-1825-C64E-B4F1-011BDA189F3A}"/>
              </a:ext>
            </a:extLst>
          </p:cNvPr>
          <p:cNvSpPr txBox="1"/>
          <p:nvPr/>
        </p:nvSpPr>
        <p:spPr>
          <a:xfrm>
            <a:off x="1127448" y="3428102"/>
            <a:ext cx="14182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nl-BE" dirty="0">
                <a:solidFill>
                  <a:schemeClr val="bg1"/>
                </a:solidFill>
                <a:latin typeface="Calibri" panose="020F0502020204030204" pitchFamily="34" charset="0"/>
              </a:rPr>
              <a:t>MINUTEN </a:t>
            </a:r>
            <a:r>
              <a:rPr lang="nl-BE" dirty="0" smtClean="0">
                <a:solidFill>
                  <a:schemeClr val="bg1"/>
                </a:solidFill>
                <a:latin typeface="Calibri" panose="020F0502020204030204" pitchFamily="34" charset="0"/>
              </a:rPr>
              <a:t/>
            </a:r>
            <a:br>
              <a:rPr lang="nl-BE" dirty="0" smtClean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nl-BE" dirty="0" smtClean="0">
                <a:solidFill>
                  <a:schemeClr val="bg1"/>
                </a:solidFill>
                <a:latin typeface="Calibri" panose="020F0502020204030204" pitchFamily="34" charset="0"/>
              </a:rPr>
              <a:t>VERTRAGING</a:t>
            </a:r>
            <a:endParaRPr lang="nl-BE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867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981082"/>
            <a:ext cx="10752667" cy="887413"/>
          </a:xfrm>
        </p:spPr>
        <p:txBody>
          <a:bodyPr/>
          <a:lstStyle/>
          <a:p>
            <a:r>
              <a:rPr lang="fr-BE" sz="3200" dirty="0"/>
              <a:t>Planning 2019 </a:t>
            </a:r>
          </a:p>
        </p:txBody>
      </p:sp>
      <p:sp>
        <p:nvSpPr>
          <p:cNvPr id="1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38099" y="6453343"/>
            <a:ext cx="590549" cy="252413"/>
          </a:xfrm>
          <a:prstGeom prst="rect">
            <a:avLst/>
          </a:prstGeom>
        </p:spPr>
        <p:txBody>
          <a:bodyPr/>
          <a:lstStyle/>
          <a:p>
            <a:r>
              <a:rPr lang="en-GB" altLang="en-US" b="0" dirty="0"/>
              <a:t>40</a:t>
            </a:r>
          </a:p>
        </p:txBody>
      </p:sp>
      <p:sp>
        <p:nvSpPr>
          <p:cNvPr id="9" name="Right Bracket 8"/>
          <p:cNvSpPr/>
          <p:nvPr/>
        </p:nvSpPr>
        <p:spPr>
          <a:xfrm rot="16200000">
            <a:off x="3609951" y="2338854"/>
            <a:ext cx="219493" cy="2383217"/>
          </a:xfrm>
          <a:prstGeom prst="rightBracket">
            <a:avLst/>
          </a:prstGeom>
          <a:noFill/>
          <a:ln>
            <a:solidFill>
              <a:srgbClr val="00BC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 dirty="0">
              <a:solidFill>
                <a:srgbClr val="00BCF0"/>
              </a:solidFill>
              <a:latin typeface="Calibri" panose="020F0502020204030204" pitchFamily="34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 flipV="1">
            <a:off x="3614765" y="2834305"/>
            <a:ext cx="0" cy="586411"/>
          </a:xfrm>
          <a:prstGeom prst="straightConnector1">
            <a:avLst/>
          </a:prstGeom>
          <a:ln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2560521" y="3983207"/>
            <a:ext cx="0" cy="695739"/>
          </a:xfrm>
          <a:prstGeom prst="straightConnector1">
            <a:avLst/>
          </a:prstGeom>
          <a:ln w="1905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506276" y="4640024"/>
            <a:ext cx="21084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b="1" dirty="0">
                <a:solidFill>
                  <a:schemeClr val="accent2"/>
                </a:solidFill>
                <a:latin typeface="Calibri" panose="020F0502020204030204" pitchFamily="34" charset="0"/>
              </a:rPr>
              <a:t>Officiële lancering van het Nationaal Actieplan </a:t>
            </a:r>
            <a:r>
              <a:rPr lang="nl-BE" b="1" dirty="0" err="1">
                <a:solidFill>
                  <a:schemeClr val="accent2"/>
                </a:solidFill>
                <a:latin typeface="Calibri" panose="020F0502020204030204" pitchFamily="34" charset="0"/>
              </a:rPr>
              <a:t>Railspect</a:t>
            </a:r>
            <a:endParaRPr lang="nl-BE" b="1" dirty="0">
              <a:solidFill>
                <a:schemeClr val="accent2"/>
              </a:solidFill>
              <a:latin typeface="Calibri" panose="020F0502020204030204" pitchFamily="34" charset="0"/>
            </a:endParaRPr>
          </a:p>
        </p:txBody>
      </p:sp>
      <p:cxnSp>
        <p:nvCxnSpPr>
          <p:cNvPr id="54" name="Straight Arrow Connector 53"/>
          <p:cNvCxnSpPr/>
          <p:nvPr/>
        </p:nvCxnSpPr>
        <p:spPr>
          <a:xfrm flipH="1">
            <a:off x="11414543" y="3995920"/>
            <a:ext cx="3" cy="496413"/>
          </a:xfrm>
          <a:prstGeom prst="straightConnector1">
            <a:avLst/>
          </a:prstGeom>
          <a:ln w="12700">
            <a:solidFill>
              <a:srgbClr val="0070C0"/>
            </a:solidFill>
            <a:tailEnd type="arrow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9031521" y="4497935"/>
            <a:ext cx="26651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BE" sz="2000" dirty="0">
                <a:solidFill>
                  <a:srgbClr val="005DA4"/>
                </a:solidFill>
                <a:latin typeface="Calibri" panose="020F0502020204030204" pitchFamily="34" charset="0"/>
              </a:rPr>
              <a:t>Sensibiliseringactie in de havengebieden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351584" y="1772816"/>
            <a:ext cx="24611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Sensibiliserings-</a:t>
            </a:r>
            <a:br>
              <a:rPr lang="nl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lang="nl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campagne Veiligheid </a:t>
            </a:r>
            <a:br>
              <a:rPr lang="nl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lang="nl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aan </a:t>
            </a:r>
            <a:r>
              <a:rPr lang="nl-BE" sz="2000" dirty="0">
                <a:solidFill>
                  <a:srgbClr val="00B0F0"/>
                </a:solidFill>
                <a:latin typeface="Calibri" panose="020F0502020204030204" pitchFamily="34" charset="0"/>
              </a:rPr>
              <a:t>overwegen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745648" y="1765265"/>
            <a:ext cx="200702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Sensibiliserings-</a:t>
            </a:r>
            <a:br>
              <a:rPr lang="nl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lang="nl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campagne </a:t>
            </a:r>
            <a:endParaRPr lang="nl-BE" sz="2000" dirty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r>
              <a:rPr lang="nl-BE" sz="2000" dirty="0">
                <a:solidFill>
                  <a:srgbClr val="00B0F0"/>
                </a:solidFill>
                <a:latin typeface="Calibri" panose="020F0502020204030204" pitchFamily="34" charset="0"/>
              </a:rPr>
              <a:t>Spoorlopen</a:t>
            </a:r>
          </a:p>
        </p:txBody>
      </p:sp>
      <p:sp>
        <p:nvSpPr>
          <p:cNvPr id="60" name="Right Bracket 59"/>
          <p:cNvSpPr/>
          <p:nvPr/>
        </p:nvSpPr>
        <p:spPr>
          <a:xfrm rot="16200000">
            <a:off x="9425938" y="2121700"/>
            <a:ext cx="201785" cy="2835232"/>
          </a:xfrm>
          <a:prstGeom prst="rightBracket">
            <a:avLst/>
          </a:prstGeom>
          <a:noFill/>
          <a:ln>
            <a:solidFill>
              <a:srgbClr val="00BC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 dirty="0">
              <a:solidFill>
                <a:srgbClr val="00BCF0"/>
              </a:solidFill>
              <a:latin typeface="Calibri" panose="020F0502020204030204" pitchFamily="34" charset="0"/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 flipV="1">
            <a:off x="9526829" y="2852013"/>
            <a:ext cx="0" cy="586411"/>
          </a:xfrm>
          <a:prstGeom prst="straightConnector1">
            <a:avLst/>
          </a:prstGeom>
          <a:ln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7968208" y="1852046"/>
            <a:ext cx="31267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000" dirty="0">
                <a:solidFill>
                  <a:srgbClr val="00B0F0"/>
                </a:solidFill>
                <a:latin typeface="Calibri" panose="020F0502020204030204" pitchFamily="34" charset="0"/>
              </a:rPr>
              <a:t>“Back </a:t>
            </a:r>
            <a:r>
              <a:rPr lang="nl-BE" sz="2000" dirty="0" err="1">
                <a:solidFill>
                  <a:srgbClr val="00B0F0"/>
                </a:solidFill>
                <a:latin typeface="Calibri" panose="020F0502020204030204" pitchFamily="34" charset="0"/>
              </a:rPr>
              <a:t>to</a:t>
            </a:r>
            <a:r>
              <a:rPr lang="nl-BE" sz="2000" dirty="0">
                <a:solidFill>
                  <a:srgbClr val="00B0F0"/>
                </a:solidFill>
                <a:latin typeface="Calibri" panose="020F0502020204030204" pitchFamily="34" charset="0"/>
              </a:rPr>
              <a:t> school”</a:t>
            </a:r>
          </a:p>
          <a:p>
            <a:r>
              <a:rPr lang="nl-BE" sz="2000" dirty="0">
                <a:solidFill>
                  <a:srgbClr val="00B0F0"/>
                </a:solidFill>
                <a:latin typeface="Calibri" panose="020F0502020204030204" pitchFamily="34" charset="0"/>
              </a:rPr>
              <a:t>Repressieve maatregelen</a:t>
            </a:r>
          </a:p>
          <a:p>
            <a:r>
              <a:rPr lang="nl-BE" sz="2000" dirty="0">
                <a:solidFill>
                  <a:srgbClr val="00B0F0"/>
                </a:solidFill>
                <a:latin typeface="Calibri" panose="020F0502020204030204" pitchFamily="34" charset="0"/>
              </a:rPr>
              <a:t>Gerichte acties</a:t>
            </a:r>
          </a:p>
        </p:txBody>
      </p:sp>
      <p:sp>
        <p:nvSpPr>
          <p:cNvPr id="21" name="Right Arrow 20"/>
          <p:cNvSpPr/>
          <p:nvPr/>
        </p:nvSpPr>
        <p:spPr>
          <a:xfrm>
            <a:off x="1" y="5871308"/>
            <a:ext cx="12191999" cy="598503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TextBox 21"/>
          <p:cNvSpPr txBox="1"/>
          <p:nvPr/>
        </p:nvSpPr>
        <p:spPr>
          <a:xfrm>
            <a:off x="1" y="5989999"/>
            <a:ext cx="118239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>
                <a:solidFill>
                  <a:schemeClr val="bg1"/>
                </a:solidFill>
                <a:latin typeface="Calibri" panose="020F0502020204030204" pitchFamily="34" charset="0"/>
              </a:rPr>
              <a:t>// Preventie: infrastructurele maatregelen </a:t>
            </a:r>
          </a:p>
        </p:txBody>
      </p:sp>
      <p:sp>
        <p:nvSpPr>
          <p:cNvPr id="20" name="Right Bracket 19"/>
          <p:cNvSpPr/>
          <p:nvPr/>
        </p:nvSpPr>
        <p:spPr>
          <a:xfrm rot="16200000">
            <a:off x="5692921" y="3228131"/>
            <a:ext cx="112480" cy="497645"/>
          </a:xfrm>
          <a:prstGeom prst="rightBracket">
            <a:avLst/>
          </a:prstGeom>
          <a:noFill/>
          <a:ln>
            <a:solidFill>
              <a:srgbClr val="00BC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 dirty="0">
              <a:solidFill>
                <a:srgbClr val="00BCF0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Right Bracket 22"/>
          <p:cNvSpPr/>
          <p:nvPr/>
        </p:nvSpPr>
        <p:spPr>
          <a:xfrm rot="16200000">
            <a:off x="6914738" y="2667029"/>
            <a:ext cx="155772" cy="1663137"/>
          </a:xfrm>
          <a:prstGeom prst="rightBracket">
            <a:avLst/>
          </a:prstGeom>
          <a:noFill/>
          <a:ln>
            <a:solidFill>
              <a:srgbClr val="00BC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BE" dirty="0">
              <a:solidFill>
                <a:srgbClr val="00BCF0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979322" y="3028890"/>
            <a:ext cx="2052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Zomertour</a:t>
            </a:r>
            <a:endParaRPr lang="fr-BE" sz="2000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cxnSp>
        <p:nvCxnSpPr>
          <p:cNvPr id="25" name="Straight Arrow Connector 24"/>
          <p:cNvCxnSpPr/>
          <p:nvPr/>
        </p:nvCxnSpPr>
        <p:spPr>
          <a:xfrm flipV="1">
            <a:off x="5735960" y="2834305"/>
            <a:ext cx="0" cy="586411"/>
          </a:xfrm>
          <a:prstGeom prst="straightConnector1">
            <a:avLst/>
          </a:prstGeom>
          <a:ln>
            <a:solidFill>
              <a:srgbClr val="00B0F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73798468"/>
              </p:ext>
            </p:extLst>
          </p:nvPr>
        </p:nvGraphicFramePr>
        <p:xfrm>
          <a:off x="0" y="1465263"/>
          <a:ext cx="12192000" cy="4646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6986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71622"/>
            <a:ext cx="10752667" cy="887413"/>
          </a:xfrm>
        </p:spPr>
        <p:txBody>
          <a:bodyPr/>
          <a:lstStyle/>
          <a:p>
            <a:r>
              <a:rPr lang="en-GB" dirty="0"/>
              <a:t>Sneak preview: </a:t>
            </a:r>
            <a:r>
              <a:rPr lang="nl-BE" dirty="0"/>
              <a:t>de trailer die onze nieuwe campagne officieel aftrapt!</a:t>
            </a:r>
            <a:endParaRPr lang="en-GB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08998908"/>
              </p:ext>
            </p:extLst>
          </p:nvPr>
        </p:nvGraphicFramePr>
        <p:xfrm>
          <a:off x="1574604" y="2260954"/>
          <a:ext cx="9042791" cy="1879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338099" y="6453336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smtClean="0"/>
              <a:pPr/>
              <a:t>41</a:t>
            </a:fld>
            <a:endParaRPr lang="en-GB" altLang="en-US" dirty="0"/>
          </a:p>
        </p:txBody>
      </p:sp>
      <p:cxnSp>
        <p:nvCxnSpPr>
          <p:cNvPr id="8" name="Straight Arrow Connector 7"/>
          <p:cNvCxnSpPr/>
          <p:nvPr/>
        </p:nvCxnSpPr>
        <p:spPr bwMode="auto">
          <a:xfrm>
            <a:off x="6084506" y="3369077"/>
            <a:ext cx="11501" cy="1086928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2475342" y="4621214"/>
            <a:ext cx="9444766" cy="195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7800" indent="-177800" algn="l" rtl="0" eaLnBrk="0" fontAlgn="base" hangingPunct="0">
              <a:spcBef>
                <a:spcPct val="20000"/>
              </a:spcBef>
              <a:spcAft>
                <a:spcPct val="500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1pPr>
            <a:lvl2pPr marL="357188" indent="-177800" algn="l" rtl="0" eaLnBrk="0" fontAlgn="base" hangingPunct="0">
              <a:spcBef>
                <a:spcPct val="20000"/>
              </a:spcBef>
              <a:spcAft>
                <a:spcPct val="5000"/>
              </a:spcAft>
              <a:buSzPct val="85000"/>
              <a:buFont typeface="Symbol" panose="05050102010706020507" pitchFamily="18" charset="2"/>
              <a:buChar char="°"/>
              <a:defRPr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536575" indent="-177800" algn="l" rtl="0" eaLnBrk="0" fontAlgn="base" hangingPunct="0">
              <a:spcBef>
                <a:spcPct val="20000"/>
              </a:spcBef>
              <a:spcAft>
                <a:spcPct val="5000"/>
              </a:spcAft>
              <a:buFont typeface="Wingdings" panose="05000000000000000000" pitchFamily="2" charset="2"/>
              <a:buChar char="ú"/>
              <a:defRPr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715963" indent="-177800" algn="l" rtl="0" eaLnBrk="0" fontAlgn="base" hangingPunct="0">
              <a:spcBef>
                <a:spcPct val="20000"/>
              </a:spcBef>
              <a:spcAft>
                <a:spcPct val="5000"/>
              </a:spcAft>
              <a:buFont typeface="Wingdings" panose="05000000000000000000" pitchFamily="2" charset="2"/>
              <a:buChar char="§"/>
              <a:defRPr sz="2000" i="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895350" indent="-177800" algn="l" rtl="0" eaLnBrk="0" fontAlgn="base" hangingPunct="0">
              <a:spcBef>
                <a:spcPct val="20000"/>
              </a:spcBef>
              <a:spcAft>
                <a:spcPct val="5000"/>
              </a:spcAft>
              <a:buFont typeface="Arial" panose="020B0604020202020204" pitchFamily="34" charset="0"/>
              <a:buChar char="-"/>
              <a:defRPr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1352550" indent="-177800" algn="l" rtl="0" eaLnBrk="1" fontAlgn="base" hangingPunct="1">
              <a:spcBef>
                <a:spcPct val="20000"/>
              </a:spcBef>
              <a:spcAft>
                <a:spcPct val="500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809750" indent="-177800" algn="l" rtl="0" eaLnBrk="1" fontAlgn="base" hangingPunct="1">
              <a:spcBef>
                <a:spcPct val="20000"/>
              </a:spcBef>
              <a:spcAft>
                <a:spcPct val="500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66950" indent="-177800" algn="l" rtl="0" eaLnBrk="1" fontAlgn="base" hangingPunct="1">
              <a:spcBef>
                <a:spcPct val="20000"/>
              </a:spcBef>
              <a:spcAft>
                <a:spcPct val="500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724150" indent="-177800" algn="l" rtl="0" eaLnBrk="1" fontAlgn="base" hangingPunct="1">
              <a:spcBef>
                <a:spcPct val="20000"/>
              </a:spcBef>
              <a:spcAft>
                <a:spcPct val="500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BE" b="1" dirty="0">
                <a:latin typeface="Calibri" panose="020F0502020204030204" pitchFamily="34" charset="0"/>
              </a:rPr>
              <a:t>Letten niet op </a:t>
            </a:r>
            <a:r>
              <a:rPr lang="nl-BE" dirty="0">
                <a:latin typeface="Calibri" panose="020F0502020204030204" pitchFamily="34" charset="0"/>
              </a:rPr>
              <a:t>aan overwegen</a:t>
            </a:r>
          </a:p>
          <a:p>
            <a:r>
              <a:rPr lang="nl-BE" dirty="0">
                <a:latin typeface="Calibri" panose="020F0502020204030204" pitchFamily="34" charset="0"/>
              </a:rPr>
              <a:t>Afgeleid door andere dingen: </a:t>
            </a:r>
            <a:r>
              <a:rPr lang="nl-BE" b="1" dirty="0">
                <a:latin typeface="Calibri" panose="020F0502020204030204" pitchFamily="34" charset="0"/>
              </a:rPr>
              <a:t>smartphone</a:t>
            </a:r>
            <a:r>
              <a:rPr lang="nl-BE" dirty="0">
                <a:latin typeface="Calibri" panose="020F0502020204030204" pitchFamily="34" charset="0"/>
              </a:rPr>
              <a:t> (smartphone zombies), in gesprek, ...</a:t>
            </a:r>
          </a:p>
          <a:p>
            <a:r>
              <a:rPr lang="nl-BE" b="1" dirty="0">
                <a:latin typeface="Calibri" panose="020F0502020204030204" pitchFamily="34" charset="0"/>
              </a:rPr>
              <a:t>Zijn zich niet bewust van de risico’s</a:t>
            </a:r>
            <a:r>
              <a:rPr lang="nl-BE" dirty="0">
                <a:latin typeface="Calibri" panose="020F0502020204030204" pitchFamily="34" charset="0"/>
              </a:rPr>
              <a:t> van hun gedrag</a:t>
            </a:r>
          </a:p>
          <a:p>
            <a:r>
              <a:rPr lang="nl-BE" b="1" dirty="0">
                <a:latin typeface="Calibri" panose="020F0502020204030204" pitchFamily="34" charset="0"/>
              </a:rPr>
              <a:t>Staan niet stil bij het belang </a:t>
            </a:r>
            <a:r>
              <a:rPr lang="nl-BE" dirty="0">
                <a:latin typeface="Calibri" panose="020F0502020204030204" pitchFamily="34" charset="0"/>
              </a:rPr>
              <a:t>van de slagbomen</a:t>
            </a:r>
          </a:p>
          <a:p>
            <a:r>
              <a:rPr lang="nl-BE" dirty="0">
                <a:latin typeface="Calibri" panose="020F0502020204030204" pitchFamily="34" charset="0"/>
              </a:rPr>
              <a:t>Het gevaarlijke gedrag aan de overwegen is een </a:t>
            </a:r>
            <a:r>
              <a:rPr lang="nl-BE" b="1" dirty="0">
                <a:latin typeface="Calibri" panose="020F0502020204030204" pitchFamily="34" charset="0"/>
              </a:rPr>
              <a:t>maatschappelijk probleem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7664" y="2402814"/>
            <a:ext cx="1680000" cy="1625727"/>
          </a:xfrm>
          <a:prstGeom prst="ellipse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4613" y="2383015"/>
            <a:ext cx="1680000" cy="1665324"/>
          </a:xfrm>
          <a:prstGeom prst="ellipse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766763" y="1599183"/>
            <a:ext cx="106584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err="1" smtClean="0">
                <a:latin typeface="Calibri" panose="020F0502020204030204" pitchFamily="34" charset="0"/>
              </a:rPr>
              <a:t>Onze</a:t>
            </a:r>
            <a:r>
              <a:rPr lang="en-GB" sz="2400" dirty="0" smtClean="0">
                <a:latin typeface="Calibri" panose="020F0502020204030204" pitchFamily="34" charset="0"/>
              </a:rPr>
              <a:t> </a:t>
            </a:r>
            <a:r>
              <a:rPr lang="en-GB" sz="2400" dirty="0" err="1" smtClean="0">
                <a:latin typeface="Calibri" panose="020F0502020204030204" pitchFamily="34" charset="0"/>
              </a:rPr>
              <a:t>doelgroepen</a:t>
            </a:r>
            <a:r>
              <a:rPr lang="en-GB" sz="2400" dirty="0" smtClean="0">
                <a:latin typeface="Calibri" panose="020F0502020204030204" pitchFamily="34" charset="0"/>
              </a:rPr>
              <a:t> </a:t>
            </a:r>
            <a:r>
              <a:rPr lang="en-GB" sz="2400" dirty="0" err="1" smtClean="0">
                <a:latin typeface="Calibri" panose="020F0502020204030204" pitchFamily="34" charset="0"/>
              </a:rPr>
              <a:t>hebben</a:t>
            </a:r>
            <a:r>
              <a:rPr lang="en-GB" sz="2400" dirty="0" smtClean="0">
                <a:latin typeface="Calibri" panose="020F0502020204030204" pitchFamily="34" charset="0"/>
              </a:rPr>
              <a:t> </a:t>
            </a:r>
            <a:r>
              <a:rPr lang="en-GB" sz="2400" dirty="0" err="1" smtClean="0">
                <a:latin typeface="Calibri" panose="020F0502020204030204" pitchFamily="34" charset="0"/>
              </a:rPr>
              <a:t>een</a:t>
            </a:r>
            <a:r>
              <a:rPr lang="en-GB" sz="2400" dirty="0" smtClean="0">
                <a:latin typeface="Calibri" panose="020F0502020204030204" pitchFamily="34" charset="0"/>
              </a:rPr>
              <a:t> </a:t>
            </a:r>
            <a:r>
              <a:rPr lang="en-GB" sz="2400" dirty="0" err="1" smtClean="0">
                <a:latin typeface="Calibri" panose="020F0502020204030204" pitchFamily="34" charset="0"/>
              </a:rPr>
              <a:t>aantal</a:t>
            </a:r>
            <a:r>
              <a:rPr lang="en-GB" sz="2400" dirty="0" smtClean="0">
                <a:latin typeface="Calibri" panose="020F0502020204030204" pitchFamily="34" charset="0"/>
              </a:rPr>
              <a:t> </a:t>
            </a:r>
            <a:r>
              <a:rPr lang="en-GB" sz="2400" dirty="0" err="1" smtClean="0">
                <a:latin typeface="Calibri" panose="020F0502020204030204" pitchFamily="34" charset="0"/>
              </a:rPr>
              <a:t>kenmerken</a:t>
            </a:r>
            <a:r>
              <a:rPr lang="en-GB" sz="2400" dirty="0" smtClean="0">
                <a:latin typeface="Calibri" panose="020F0502020204030204" pitchFamily="34" charset="0"/>
              </a:rPr>
              <a:t> </a:t>
            </a:r>
            <a:r>
              <a:rPr lang="en-GB" sz="2400" dirty="0" err="1" smtClean="0">
                <a:latin typeface="Calibri" panose="020F0502020204030204" pitchFamily="34" charset="0"/>
              </a:rPr>
              <a:t>gemeen</a:t>
            </a:r>
            <a:r>
              <a:rPr lang="en-GB" sz="2400" dirty="0" smtClean="0">
                <a:latin typeface="Calibri" panose="020F0502020204030204" pitchFamily="34" charset="0"/>
              </a:rPr>
              <a:t>:</a:t>
            </a:r>
            <a:endParaRPr lang="en-GB" sz="2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76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 bwMode="auto">
          <a:xfrm>
            <a:off x="2567608" y="4509120"/>
            <a:ext cx="7128792" cy="576064"/>
          </a:xfrm>
          <a:prstGeom prst="roundRect">
            <a:avLst>
              <a:gd name="adj" fmla="val 50000"/>
            </a:avLst>
          </a:prstGeom>
          <a:solidFill>
            <a:srgbClr val="00B0F0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1003300"/>
            <a:ext cx="10735204" cy="554038"/>
          </a:xfrm>
        </p:spPr>
        <p:txBody>
          <a:bodyPr/>
          <a:lstStyle/>
          <a:p>
            <a:r>
              <a:rPr lang="en-GB" dirty="0" smtClean="0"/>
              <a:t>Wat is de </a:t>
            </a:r>
            <a:r>
              <a:rPr lang="en-GB" dirty="0" err="1" smtClean="0"/>
              <a:t>beste</a:t>
            </a:r>
            <a:r>
              <a:rPr lang="en-GB" dirty="0" smtClean="0"/>
              <a:t> </a:t>
            </a:r>
            <a:r>
              <a:rPr lang="en-GB" dirty="0" err="1" smtClean="0"/>
              <a:t>aanpak</a:t>
            </a:r>
            <a:r>
              <a:rPr lang="en-GB" dirty="0" smtClean="0"/>
              <a:t>?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6763" y="1916113"/>
            <a:ext cx="10705573" cy="4176712"/>
          </a:xfr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nl-BE" dirty="0">
                <a:solidFill>
                  <a:srgbClr val="0070C0"/>
                </a:solidFill>
              </a:rPr>
              <a:t>We willen deze doelgroepen emotioneel betrekken in deze problematiek, </a:t>
            </a:r>
            <a:r>
              <a:rPr lang="nl-BE" dirty="0" smtClean="0">
                <a:solidFill>
                  <a:srgbClr val="0070C0"/>
                </a:solidFill>
              </a:rPr>
              <a:t/>
            </a:r>
            <a:br>
              <a:rPr lang="nl-BE" dirty="0" smtClean="0">
                <a:solidFill>
                  <a:srgbClr val="0070C0"/>
                </a:solidFill>
              </a:rPr>
            </a:br>
            <a:r>
              <a:rPr lang="nl-BE" dirty="0" smtClean="0">
                <a:solidFill>
                  <a:srgbClr val="0070C0"/>
                </a:solidFill>
              </a:rPr>
              <a:t>zonder </a:t>
            </a:r>
            <a:r>
              <a:rPr lang="nl-BE" dirty="0">
                <a:solidFill>
                  <a:srgbClr val="0070C0"/>
                </a:solidFill>
              </a:rPr>
              <a:t>hen evenwel te wijzen op hun gedrag en de risico’s van </a:t>
            </a:r>
            <a:r>
              <a:rPr lang="nl-BE" dirty="0" smtClean="0">
                <a:solidFill>
                  <a:srgbClr val="0070C0"/>
                </a:solidFill>
              </a:rPr>
              <a:t>ongevallen:</a:t>
            </a:r>
          </a:p>
          <a:p>
            <a:pPr algn="ctr">
              <a:spcAft>
                <a:spcPts val="1200"/>
              </a:spcAft>
            </a:pPr>
            <a:r>
              <a:rPr lang="nl-BE" b="1" dirty="0">
                <a:sym typeface="Wingdings" panose="05000000000000000000" pitchFamily="2" charset="2"/>
              </a:rPr>
              <a:t>Onze overwegen een “gezicht” geven door er verhalen over te vertellen</a:t>
            </a:r>
          </a:p>
          <a:p>
            <a:pPr algn="ctr">
              <a:spcAft>
                <a:spcPts val="1200"/>
              </a:spcAft>
            </a:pPr>
            <a:r>
              <a:rPr lang="nl-BE" dirty="0" smtClean="0"/>
              <a:t>De </a:t>
            </a:r>
            <a:r>
              <a:rPr lang="nl-BE" dirty="0"/>
              <a:t>problematiek onder de aandacht brengen via de </a:t>
            </a:r>
            <a:r>
              <a:rPr lang="nl-BE" b="1" dirty="0"/>
              <a:t>sociale media </a:t>
            </a:r>
            <a:r>
              <a:rPr lang="nl-BE" b="1" dirty="0" smtClean="0"/>
              <a:t/>
            </a:r>
            <a:br>
              <a:rPr lang="nl-BE" b="1" dirty="0" smtClean="0"/>
            </a:br>
            <a:r>
              <a:rPr lang="nl-BE" b="1" dirty="0" smtClean="0"/>
              <a:t>en </a:t>
            </a:r>
            <a:r>
              <a:rPr lang="nl-BE" b="1" dirty="0"/>
              <a:t>televisie </a:t>
            </a:r>
            <a:r>
              <a:rPr lang="nl-BE" dirty="0" smtClean="0"/>
              <a:t>om </a:t>
            </a:r>
            <a:r>
              <a:rPr lang="nl-BE" dirty="0"/>
              <a:t>zo’n groot mogelijk publiek te bereiken</a:t>
            </a:r>
          </a:p>
          <a:p>
            <a:pPr marL="0" indent="0" algn="ctr">
              <a:buNone/>
            </a:pPr>
            <a:endParaRPr lang="en-GB" dirty="0"/>
          </a:p>
          <a:p>
            <a:pPr marL="0" indent="0" algn="ctr">
              <a:buNone/>
            </a:pPr>
            <a:endParaRPr lang="en-GB" dirty="0">
              <a:latin typeface="Calibri" panose="020F0502020204030204" pitchFamily="34" charset="0"/>
            </a:endParaRPr>
          </a:p>
          <a:p>
            <a:pPr algn="ctr"/>
            <a:r>
              <a:rPr lang="nl-BE" b="1" dirty="0">
                <a:solidFill>
                  <a:schemeClr val="bg1"/>
                </a:solidFill>
              </a:rPr>
              <a:t>We lichten hier alvast een tipje van de sluier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338099" y="6453336"/>
            <a:ext cx="590549" cy="252413"/>
          </a:xfrm>
          <a:prstGeom prst="rect">
            <a:avLst/>
          </a:prstGeom>
        </p:spPr>
        <p:txBody>
          <a:bodyPr/>
          <a:lstStyle/>
          <a:p>
            <a:fld id="{08539E76-19B0-4CB4-842B-1223C757FE0D}" type="slidenum">
              <a:rPr lang="en-GB" altLang="en-US" smtClean="0"/>
              <a:pPr/>
              <a:t>42</a:t>
            </a:fld>
            <a:endParaRPr lang="en-GB" altLang="en-US"/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475033" y="2636912"/>
            <a:ext cx="928903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7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/>
          <p:cNvCxnSpPr/>
          <p:nvPr/>
        </p:nvCxnSpPr>
        <p:spPr bwMode="auto">
          <a:xfrm>
            <a:off x="1475033" y="3066321"/>
            <a:ext cx="928903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7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>
            <a:off x="1475033" y="3861048"/>
            <a:ext cx="928903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7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12702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763" y="980735"/>
            <a:ext cx="10705573" cy="887413"/>
          </a:xfrm>
        </p:spPr>
        <p:txBody>
          <a:bodyPr/>
          <a:lstStyle/>
          <a:p>
            <a:r>
              <a:rPr lang="fr-BE" dirty="0"/>
              <a:t>TRAILER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EF88F-1E48-4A48-9787-6B9229C21378}" type="slidenum">
              <a:rPr lang="en-GB" smtClean="0"/>
              <a:pPr/>
              <a:t>43</a:t>
            </a:fld>
            <a:endParaRPr lang="en-GB" dirty="0"/>
          </a:p>
        </p:txBody>
      </p:sp>
      <p:pic>
        <p:nvPicPr>
          <p:cNvPr id="14338" name="Picture 2" descr="Afbeeldingsresultaat voor play icon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7788" y="2226494"/>
            <a:ext cx="2216423" cy="2216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06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586"/>
            <a:ext cx="12192000" cy="6879084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4113" y="472705"/>
            <a:ext cx="3092397" cy="887413"/>
          </a:xfrm>
        </p:spPr>
        <p:txBody>
          <a:bodyPr/>
          <a:lstStyle/>
          <a:p>
            <a:r>
              <a:rPr lang="fr-BE" sz="4400" dirty="0">
                <a:solidFill>
                  <a:schemeClr val="bg1"/>
                </a:solidFill>
                <a:latin typeface="Calibri" panose="020F0502020204030204" pitchFamily="34" charset="0"/>
              </a:rPr>
              <a:t>4. </a:t>
            </a:r>
            <a:r>
              <a:rPr lang="fr-BE" sz="4400" dirty="0" err="1" smtClean="0">
                <a:solidFill>
                  <a:schemeClr val="bg1"/>
                </a:solidFill>
                <a:latin typeface="Calibri" panose="020F0502020204030204" pitchFamily="34" charset="0"/>
              </a:rPr>
              <a:t>Vragen</a:t>
            </a:r>
            <a:endParaRPr lang="fr-BE" sz="4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13FC84-0536-1543-84B1-45C63D659B76}"/>
              </a:ext>
            </a:extLst>
          </p:cNvPr>
          <p:cNvSpPr/>
          <p:nvPr/>
        </p:nvSpPr>
        <p:spPr>
          <a:xfrm flipH="1" flipV="1">
            <a:off x="-25052" y="-12526"/>
            <a:ext cx="2293898" cy="6874024"/>
          </a:xfrm>
          <a:custGeom>
            <a:avLst/>
            <a:gdLst>
              <a:gd name="connsiteX0" fmla="*/ 0 w 4455622"/>
              <a:gd name="connsiteY0" fmla="*/ 0 h 2664229"/>
              <a:gd name="connsiteX1" fmla="*/ 4455622 w 4455622"/>
              <a:gd name="connsiteY1" fmla="*/ 0 h 2664229"/>
              <a:gd name="connsiteX2" fmla="*/ 4455622 w 4455622"/>
              <a:gd name="connsiteY2" fmla="*/ 2664229 h 2664229"/>
              <a:gd name="connsiteX3" fmla="*/ 0 w 4455622"/>
              <a:gd name="connsiteY3" fmla="*/ 2664229 h 2664229"/>
              <a:gd name="connsiteX4" fmla="*/ 0 w 4455622"/>
              <a:gd name="connsiteY4" fmla="*/ 0 h 2664229"/>
              <a:gd name="connsiteX0" fmla="*/ 2111432 w 6567054"/>
              <a:gd name="connsiteY0" fmla="*/ 0 h 6870469"/>
              <a:gd name="connsiteX1" fmla="*/ 6567054 w 6567054"/>
              <a:gd name="connsiteY1" fmla="*/ 0 h 6870469"/>
              <a:gd name="connsiteX2" fmla="*/ 6567054 w 6567054"/>
              <a:gd name="connsiteY2" fmla="*/ 2664229 h 6870469"/>
              <a:gd name="connsiteX3" fmla="*/ 0 w 6567054"/>
              <a:gd name="connsiteY3" fmla="*/ 6870469 h 6870469"/>
              <a:gd name="connsiteX4" fmla="*/ 2111432 w 6567054"/>
              <a:gd name="connsiteY4" fmla="*/ 0 h 6870469"/>
              <a:gd name="connsiteX0" fmla="*/ 2111432 w 7356763"/>
              <a:gd name="connsiteY0" fmla="*/ 0 h 6870469"/>
              <a:gd name="connsiteX1" fmla="*/ 6567054 w 7356763"/>
              <a:gd name="connsiteY1" fmla="*/ 0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7306887 w 7356763"/>
              <a:gd name="connsiteY1" fmla="*/ 8313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6991004 w 7356763"/>
              <a:gd name="connsiteY1" fmla="*/ 41564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4"/>
              <a:gd name="connsiteY0" fmla="*/ 0 h 6870469"/>
              <a:gd name="connsiteX1" fmla="*/ 7356764 w 7356764"/>
              <a:gd name="connsiteY1" fmla="*/ 33252 h 6870469"/>
              <a:gd name="connsiteX2" fmla="*/ 7356763 w 7356764"/>
              <a:gd name="connsiteY2" fmla="*/ 6870469 h 6870469"/>
              <a:gd name="connsiteX3" fmla="*/ 0 w 7356764"/>
              <a:gd name="connsiteY3" fmla="*/ 6870469 h 6870469"/>
              <a:gd name="connsiteX4" fmla="*/ 2111432 w 7356764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7356763 w 7365077"/>
              <a:gd name="connsiteY2" fmla="*/ 6870469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4434969 w 7365077"/>
              <a:gd name="connsiteY2" fmla="*/ 6820462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5270787 w 7365077"/>
              <a:gd name="connsiteY2" fmla="*/ 6849037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5270787"/>
              <a:gd name="connsiteY0" fmla="*/ 0 h 6870469"/>
              <a:gd name="connsiteX1" fmla="*/ 4278977 w 5270787"/>
              <a:gd name="connsiteY1" fmla="*/ 273801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70787"/>
              <a:gd name="connsiteY0" fmla="*/ 0 h 6870469"/>
              <a:gd name="connsiteX1" fmla="*/ 5257670 w 5270787"/>
              <a:gd name="connsiteY1" fmla="*/ 16626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57670"/>
              <a:gd name="connsiteY0" fmla="*/ 0 h 6870469"/>
              <a:gd name="connsiteX1" fmla="*/ 5257670 w 5257670"/>
              <a:gd name="connsiteY1" fmla="*/ 16626 h 6870469"/>
              <a:gd name="connsiteX2" fmla="*/ 5192206 w 5257670"/>
              <a:gd name="connsiteY2" fmla="*/ 6677587 h 6870469"/>
              <a:gd name="connsiteX3" fmla="*/ 0 w 5257670"/>
              <a:gd name="connsiteY3" fmla="*/ 6870469 h 6870469"/>
              <a:gd name="connsiteX4" fmla="*/ 2111432 w 5257670"/>
              <a:gd name="connsiteY4" fmla="*/ 0 h 6870469"/>
              <a:gd name="connsiteX0" fmla="*/ 2111432 w 5277931"/>
              <a:gd name="connsiteY0" fmla="*/ 0 h 6877612"/>
              <a:gd name="connsiteX1" fmla="*/ 5257670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143370 w 5277931"/>
              <a:gd name="connsiteY1" fmla="*/ 12378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271957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3357432 w 5277931"/>
              <a:gd name="connsiteY1" fmla="*/ 59489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721638 w 5277931"/>
              <a:gd name="connsiteY1" fmla="*/ 50240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171569 w 5277931"/>
              <a:gd name="connsiteY1" fmla="*/ 873877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1677481 w 2171569"/>
              <a:gd name="connsiteY2" fmla="*/ 6556143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2163256 w 2171569"/>
              <a:gd name="connsiteY2" fmla="*/ 6856180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63256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066338 w 2164425"/>
              <a:gd name="connsiteY2" fmla="*/ 6799423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54829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098790 w 2151783"/>
              <a:gd name="connsiteY0" fmla="*/ 19092 h 6875272"/>
              <a:gd name="connsiteX1" fmla="*/ 2151783 w 2151783"/>
              <a:gd name="connsiteY1" fmla="*/ 0 h 6875272"/>
              <a:gd name="connsiteX2" fmla="*/ 2142187 w 2151783"/>
              <a:gd name="connsiteY2" fmla="*/ 6875272 h 6875272"/>
              <a:gd name="connsiteX3" fmla="*/ 0 w 2151783"/>
              <a:gd name="connsiteY3" fmla="*/ 6838995 h 6875272"/>
              <a:gd name="connsiteX4" fmla="*/ 2098790 w 2151783"/>
              <a:gd name="connsiteY4" fmla="*/ 19092 h 6875272"/>
              <a:gd name="connsiteX0" fmla="*/ 2107218 w 2160211"/>
              <a:gd name="connsiteY0" fmla="*/ 19092 h 6875272"/>
              <a:gd name="connsiteX1" fmla="*/ 2160211 w 2160211"/>
              <a:gd name="connsiteY1" fmla="*/ 0 h 6875272"/>
              <a:gd name="connsiteX2" fmla="*/ 2150615 w 2160211"/>
              <a:gd name="connsiteY2" fmla="*/ 6875272 h 6875272"/>
              <a:gd name="connsiteX3" fmla="*/ 0 w 2160211"/>
              <a:gd name="connsiteY3" fmla="*/ 6872705 h 6875272"/>
              <a:gd name="connsiteX4" fmla="*/ 2107218 w 2160211"/>
              <a:gd name="connsiteY4" fmla="*/ 19092 h 6875272"/>
              <a:gd name="connsiteX0" fmla="*/ 2107218 w 2168638"/>
              <a:gd name="connsiteY0" fmla="*/ 0 h 6856180"/>
              <a:gd name="connsiteX1" fmla="*/ 2168638 w 2168638"/>
              <a:gd name="connsiteY1" fmla="*/ 1978 h 6856180"/>
              <a:gd name="connsiteX2" fmla="*/ 2150615 w 2168638"/>
              <a:gd name="connsiteY2" fmla="*/ 6856180 h 6856180"/>
              <a:gd name="connsiteX3" fmla="*/ 0 w 2168638"/>
              <a:gd name="connsiteY3" fmla="*/ 6853613 h 6856180"/>
              <a:gd name="connsiteX4" fmla="*/ 2107218 w 2168638"/>
              <a:gd name="connsiteY4" fmla="*/ 0 h 6856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8638" h="6856180">
                <a:moveTo>
                  <a:pt x="2107218" y="0"/>
                </a:moveTo>
                <a:lnTo>
                  <a:pt x="2168638" y="1978"/>
                </a:lnTo>
                <a:cubicBezTo>
                  <a:pt x="2168638" y="2281050"/>
                  <a:pt x="2150615" y="4577108"/>
                  <a:pt x="2150615" y="6856180"/>
                </a:cubicBezTo>
                <a:lnTo>
                  <a:pt x="0" y="6853613"/>
                </a:lnTo>
                <a:lnTo>
                  <a:pt x="2107218" y="0"/>
                </a:lnTo>
                <a:close/>
              </a:path>
            </a:pathLst>
          </a:custGeom>
          <a:solidFill>
            <a:schemeClr val="bg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/>
              <a:t>    </a:t>
            </a: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2424113" y="1222180"/>
            <a:ext cx="2196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596192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fr-BE" dirty="0"/>
              <a:t>5</a:t>
            </a: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766763" y="1988840"/>
            <a:ext cx="1065847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70C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7" name="Isosceles Triangle 6"/>
          <p:cNvSpPr/>
          <p:nvPr/>
        </p:nvSpPr>
        <p:spPr bwMode="auto">
          <a:xfrm rot="10800000">
            <a:off x="2186479" y="2141545"/>
            <a:ext cx="396000" cy="180000"/>
          </a:xfrm>
          <a:prstGeom prst="triangle">
            <a:avLst/>
          </a:prstGeom>
          <a:solidFill>
            <a:srgbClr val="00B0F0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en-GB">
              <a:latin typeface="Arial" charset="0"/>
              <a:cs typeface="Arial" charset="0"/>
            </a:endParaRPr>
          </a:p>
        </p:txBody>
      </p:sp>
      <p:sp>
        <p:nvSpPr>
          <p:cNvPr id="10" name="Isosceles Triangle 9"/>
          <p:cNvSpPr/>
          <p:nvPr/>
        </p:nvSpPr>
        <p:spPr bwMode="auto">
          <a:xfrm rot="10800000">
            <a:off x="5916895" y="2141545"/>
            <a:ext cx="396000" cy="180000"/>
          </a:xfrm>
          <a:prstGeom prst="triangle">
            <a:avLst/>
          </a:prstGeom>
          <a:solidFill>
            <a:srgbClr val="00B0F0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en-GB">
              <a:latin typeface="Arial" charset="0"/>
              <a:cs typeface="Arial" charset="0"/>
            </a:endParaRPr>
          </a:p>
        </p:txBody>
      </p:sp>
      <p:sp>
        <p:nvSpPr>
          <p:cNvPr id="11" name="Isosceles Triangle 10"/>
          <p:cNvSpPr/>
          <p:nvPr/>
        </p:nvSpPr>
        <p:spPr bwMode="auto">
          <a:xfrm rot="10800000">
            <a:off x="9650217" y="2141545"/>
            <a:ext cx="396000" cy="180000"/>
          </a:xfrm>
          <a:prstGeom prst="triangle">
            <a:avLst/>
          </a:prstGeom>
          <a:solidFill>
            <a:srgbClr val="00B0F0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en-GB">
              <a:latin typeface="Arial" charset="0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3280" y="4797152"/>
            <a:ext cx="1042396" cy="10423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1944" y="4869159"/>
            <a:ext cx="1196695" cy="11966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8368" y="4665955"/>
            <a:ext cx="1141951" cy="1141951"/>
          </a:xfrm>
          <a:prstGeom prst="rect">
            <a:avLst/>
          </a:prstGeom>
        </p:spPr>
      </p:pic>
      <p:sp>
        <p:nvSpPr>
          <p:cNvPr id="16" name="Title 4">
            <a:extLst>
              <a:ext uri="{FF2B5EF4-FFF2-40B4-BE49-F238E27FC236}">
                <a16:creationId xmlns:a16="http://schemas.microsoft.com/office/drawing/2014/main" id="{FF89EC81-555C-EE46-A8D7-2863ECA2AA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81082"/>
            <a:ext cx="10658475" cy="887413"/>
          </a:xfrm>
        </p:spPr>
        <p:txBody>
          <a:bodyPr/>
          <a:lstStyle/>
          <a:p>
            <a:pPr algn="ctr"/>
            <a:r>
              <a:rPr lang="nl-BE" dirty="0"/>
              <a:t>Het probleem is te wijten aan het gedrag </a:t>
            </a:r>
            <a:br>
              <a:rPr lang="nl-BE" dirty="0"/>
            </a:br>
            <a:r>
              <a:rPr lang="nl-BE" dirty="0"/>
              <a:t>aan de overwegen en langs de sporen:</a:t>
            </a:r>
            <a:br>
              <a:rPr lang="nl-BE" dirty="0"/>
            </a:br>
            <a:endParaRPr lang="nl-BE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64BB304-B56B-4D43-9FB2-F5222084C445}"/>
              </a:ext>
            </a:extLst>
          </p:cNvPr>
          <p:cNvSpPr/>
          <p:nvPr/>
        </p:nvSpPr>
        <p:spPr>
          <a:xfrm>
            <a:off x="1170121" y="2564904"/>
            <a:ext cx="233359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BE" sz="2400" dirty="0">
                <a:latin typeface="Calibri" panose="020F0502020204030204" pitchFamily="34" charset="0"/>
              </a:rPr>
              <a:t>Noodzaak </a:t>
            </a:r>
            <a:br>
              <a:rPr lang="nl-BE" sz="2400" dirty="0">
                <a:latin typeface="Calibri" panose="020F0502020204030204" pitchFamily="34" charset="0"/>
              </a:rPr>
            </a:br>
            <a:r>
              <a:rPr lang="nl-BE" sz="2400" dirty="0">
                <a:latin typeface="Calibri" panose="020F0502020204030204" pitchFamily="34" charset="0"/>
              </a:rPr>
              <a:t>om een </a:t>
            </a:r>
            <a:r>
              <a:rPr lang="nl-BE" sz="2400" b="1" dirty="0">
                <a:latin typeface="Calibri" panose="020F0502020204030204" pitchFamily="34" charset="0"/>
              </a:rPr>
              <a:t>gedragswijziging tot stand te brenge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0F72C03-DFA4-C14C-8D32-C401E4885B9C}"/>
              </a:ext>
            </a:extLst>
          </p:cNvPr>
          <p:cNvSpPr/>
          <p:nvPr/>
        </p:nvSpPr>
        <p:spPr>
          <a:xfrm>
            <a:off x="4770860" y="2564904"/>
            <a:ext cx="26212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BE" sz="2400" b="1" dirty="0">
                <a:latin typeface="Calibri" panose="020F0502020204030204" pitchFamily="34" charset="0"/>
              </a:rPr>
              <a:t>Studie</a:t>
            </a:r>
            <a:r>
              <a:rPr lang="nl-BE" sz="2400" dirty="0">
                <a:latin typeface="Calibri" panose="020F0502020204030204" pitchFamily="34" charset="0"/>
              </a:rPr>
              <a:t> in december 2018 over het risicogedra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DB84B4B-4F39-3449-AC15-0596330A5522}"/>
              </a:ext>
            </a:extLst>
          </p:cNvPr>
          <p:cNvSpPr/>
          <p:nvPr/>
        </p:nvSpPr>
        <p:spPr>
          <a:xfrm>
            <a:off x="8702382" y="2596654"/>
            <a:ext cx="229016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BE" sz="2400" dirty="0">
                <a:latin typeface="Calibri" panose="020F0502020204030204" pitchFamily="34" charset="0"/>
              </a:rPr>
              <a:t>Ontwikkeling van een </a:t>
            </a:r>
            <a:r>
              <a:rPr lang="nl-BE" sz="2400" b="1" dirty="0">
                <a:latin typeface="Calibri" panose="020F0502020204030204" pitchFamily="34" charset="0"/>
              </a:rPr>
              <a:t>strategie</a:t>
            </a:r>
            <a:r>
              <a:rPr lang="nl-BE" sz="2400" dirty="0">
                <a:latin typeface="Calibri" panose="020F0502020204030204" pitchFamily="34" charset="0"/>
              </a:rPr>
              <a:t> op basis van de studie</a:t>
            </a:r>
          </a:p>
        </p:txBody>
      </p:sp>
    </p:spTree>
    <p:extLst>
      <p:ext uri="{BB962C8B-B14F-4D97-AF65-F5344CB8AC3E}">
        <p14:creationId xmlns:p14="http://schemas.microsoft.com/office/powerpoint/2010/main" val="157477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387424"/>
            <a:ext cx="12192000" cy="811526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013FC84-0536-1543-84B1-45C63D659B76}"/>
              </a:ext>
            </a:extLst>
          </p:cNvPr>
          <p:cNvSpPr/>
          <p:nvPr/>
        </p:nvSpPr>
        <p:spPr>
          <a:xfrm flipH="1" flipV="1">
            <a:off x="-25052" y="-12526"/>
            <a:ext cx="2293898" cy="6874024"/>
          </a:xfrm>
          <a:custGeom>
            <a:avLst/>
            <a:gdLst>
              <a:gd name="connsiteX0" fmla="*/ 0 w 4455622"/>
              <a:gd name="connsiteY0" fmla="*/ 0 h 2664229"/>
              <a:gd name="connsiteX1" fmla="*/ 4455622 w 4455622"/>
              <a:gd name="connsiteY1" fmla="*/ 0 h 2664229"/>
              <a:gd name="connsiteX2" fmla="*/ 4455622 w 4455622"/>
              <a:gd name="connsiteY2" fmla="*/ 2664229 h 2664229"/>
              <a:gd name="connsiteX3" fmla="*/ 0 w 4455622"/>
              <a:gd name="connsiteY3" fmla="*/ 2664229 h 2664229"/>
              <a:gd name="connsiteX4" fmla="*/ 0 w 4455622"/>
              <a:gd name="connsiteY4" fmla="*/ 0 h 2664229"/>
              <a:gd name="connsiteX0" fmla="*/ 2111432 w 6567054"/>
              <a:gd name="connsiteY0" fmla="*/ 0 h 6870469"/>
              <a:gd name="connsiteX1" fmla="*/ 6567054 w 6567054"/>
              <a:gd name="connsiteY1" fmla="*/ 0 h 6870469"/>
              <a:gd name="connsiteX2" fmla="*/ 6567054 w 6567054"/>
              <a:gd name="connsiteY2" fmla="*/ 2664229 h 6870469"/>
              <a:gd name="connsiteX3" fmla="*/ 0 w 6567054"/>
              <a:gd name="connsiteY3" fmla="*/ 6870469 h 6870469"/>
              <a:gd name="connsiteX4" fmla="*/ 2111432 w 6567054"/>
              <a:gd name="connsiteY4" fmla="*/ 0 h 6870469"/>
              <a:gd name="connsiteX0" fmla="*/ 2111432 w 7356763"/>
              <a:gd name="connsiteY0" fmla="*/ 0 h 6870469"/>
              <a:gd name="connsiteX1" fmla="*/ 6567054 w 7356763"/>
              <a:gd name="connsiteY1" fmla="*/ 0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7306887 w 7356763"/>
              <a:gd name="connsiteY1" fmla="*/ 8313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3"/>
              <a:gd name="connsiteY0" fmla="*/ 0 h 6870469"/>
              <a:gd name="connsiteX1" fmla="*/ 6991004 w 7356763"/>
              <a:gd name="connsiteY1" fmla="*/ 41564 h 6870469"/>
              <a:gd name="connsiteX2" fmla="*/ 7356763 w 7356763"/>
              <a:gd name="connsiteY2" fmla="*/ 6870469 h 6870469"/>
              <a:gd name="connsiteX3" fmla="*/ 0 w 7356763"/>
              <a:gd name="connsiteY3" fmla="*/ 6870469 h 6870469"/>
              <a:gd name="connsiteX4" fmla="*/ 2111432 w 7356763"/>
              <a:gd name="connsiteY4" fmla="*/ 0 h 6870469"/>
              <a:gd name="connsiteX0" fmla="*/ 2111432 w 7356764"/>
              <a:gd name="connsiteY0" fmla="*/ 0 h 6870469"/>
              <a:gd name="connsiteX1" fmla="*/ 7356764 w 7356764"/>
              <a:gd name="connsiteY1" fmla="*/ 33252 h 6870469"/>
              <a:gd name="connsiteX2" fmla="*/ 7356763 w 7356764"/>
              <a:gd name="connsiteY2" fmla="*/ 6870469 h 6870469"/>
              <a:gd name="connsiteX3" fmla="*/ 0 w 7356764"/>
              <a:gd name="connsiteY3" fmla="*/ 6870469 h 6870469"/>
              <a:gd name="connsiteX4" fmla="*/ 2111432 w 7356764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7356763 w 7365077"/>
              <a:gd name="connsiteY2" fmla="*/ 6870469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4434969 w 7365077"/>
              <a:gd name="connsiteY2" fmla="*/ 6820462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7365077"/>
              <a:gd name="connsiteY0" fmla="*/ 0 h 6870469"/>
              <a:gd name="connsiteX1" fmla="*/ 7365077 w 7365077"/>
              <a:gd name="connsiteY1" fmla="*/ 16626 h 6870469"/>
              <a:gd name="connsiteX2" fmla="*/ 5270787 w 7365077"/>
              <a:gd name="connsiteY2" fmla="*/ 6849037 h 6870469"/>
              <a:gd name="connsiteX3" fmla="*/ 0 w 7365077"/>
              <a:gd name="connsiteY3" fmla="*/ 6870469 h 6870469"/>
              <a:gd name="connsiteX4" fmla="*/ 2111432 w 7365077"/>
              <a:gd name="connsiteY4" fmla="*/ 0 h 6870469"/>
              <a:gd name="connsiteX0" fmla="*/ 2111432 w 5270787"/>
              <a:gd name="connsiteY0" fmla="*/ 0 h 6870469"/>
              <a:gd name="connsiteX1" fmla="*/ 4278977 w 5270787"/>
              <a:gd name="connsiteY1" fmla="*/ 273801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70787"/>
              <a:gd name="connsiteY0" fmla="*/ 0 h 6870469"/>
              <a:gd name="connsiteX1" fmla="*/ 5257670 w 5270787"/>
              <a:gd name="connsiteY1" fmla="*/ 16626 h 6870469"/>
              <a:gd name="connsiteX2" fmla="*/ 5270787 w 5270787"/>
              <a:gd name="connsiteY2" fmla="*/ 6849037 h 6870469"/>
              <a:gd name="connsiteX3" fmla="*/ 0 w 5270787"/>
              <a:gd name="connsiteY3" fmla="*/ 6870469 h 6870469"/>
              <a:gd name="connsiteX4" fmla="*/ 2111432 w 5270787"/>
              <a:gd name="connsiteY4" fmla="*/ 0 h 6870469"/>
              <a:gd name="connsiteX0" fmla="*/ 2111432 w 5257670"/>
              <a:gd name="connsiteY0" fmla="*/ 0 h 6870469"/>
              <a:gd name="connsiteX1" fmla="*/ 5257670 w 5257670"/>
              <a:gd name="connsiteY1" fmla="*/ 16626 h 6870469"/>
              <a:gd name="connsiteX2" fmla="*/ 5192206 w 5257670"/>
              <a:gd name="connsiteY2" fmla="*/ 6677587 h 6870469"/>
              <a:gd name="connsiteX3" fmla="*/ 0 w 5257670"/>
              <a:gd name="connsiteY3" fmla="*/ 6870469 h 6870469"/>
              <a:gd name="connsiteX4" fmla="*/ 2111432 w 5257670"/>
              <a:gd name="connsiteY4" fmla="*/ 0 h 6870469"/>
              <a:gd name="connsiteX0" fmla="*/ 2111432 w 5277931"/>
              <a:gd name="connsiteY0" fmla="*/ 0 h 6877612"/>
              <a:gd name="connsiteX1" fmla="*/ 5257670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143370 w 5277931"/>
              <a:gd name="connsiteY1" fmla="*/ 12378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5271957 w 5277931"/>
              <a:gd name="connsiteY1" fmla="*/ 16626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3357432 w 5277931"/>
              <a:gd name="connsiteY1" fmla="*/ 59489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721638 w 5277931"/>
              <a:gd name="connsiteY1" fmla="*/ 502402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5277931"/>
              <a:gd name="connsiteY0" fmla="*/ 0 h 6877612"/>
              <a:gd name="connsiteX1" fmla="*/ 2171569 w 5277931"/>
              <a:gd name="connsiteY1" fmla="*/ 873877 h 6877612"/>
              <a:gd name="connsiteX2" fmla="*/ 5277931 w 5277931"/>
              <a:gd name="connsiteY2" fmla="*/ 6877612 h 6877612"/>
              <a:gd name="connsiteX3" fmla="*/ 0 w 5277931"/>
              <a:gd name="connsiteY3" fmla="*/ 6870469 h 6877612"/>
              <a:gd name="connsiteX4" fmla="*/ 2111432 w 5277931"/>
              <a:gd name="connsiteY4" fmla="*/ 0 h 6877612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1677481 w 2171569"/>
              <a:gd name="connsiteY2" fmla="*/ 6556143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71569"/>
              <a:gd name="connsiteY0" fmla="*/ 0 h 6870469"/>
              <a:gd name="connsiteX1" fmla="*/ 2171569 w 2171569"/>
              <a:gd name="connsiteY1" fmla="*/ 873877 h 6870469"/>
              <a:gd name="connsiteX2" fmla="*/ 2163256 w 2171569"/>
              <a:gd name="connsiteY2" fmla="*/ 6856180 h 6870469"/>
              <a:gd name="connsiteX3" fmla="*/ 0 w 2171569"/>
              <a:gd name="connsiteY3" fmla="*/ 6870469 h 6870469"/>
              <a:gd name="connsiteX4" fmla="*/ 2111432 w 2171569"/>
              <a:gd name="connsiteY4" fmla="*/ 0 h 6870469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63256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066338 w 2164425"/>
              <a:gd name="connsiteY2" fmla="*/ 6799423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111432 w 2164425"/>
              <a:gd name="connsiteY0" fmla="*/ 19092 h 6889561"/>
              <a:gd name="connsiteX1" fmla="*/ 2164425 w 2164425"/>
              <a:gd name="connsiteY1" fmla="*/ 0 h 6889561"/>
              <a:gd name="connsiteX2" fmla="*/ 2154829 w 2164425"/>
              <a:gd name="connsiteY2" fmla="*/ 6875272 h 6889561"/>
              <a:gd name="connsiteX3" fmla="*/ 0 w 2164425"/>
              <a:gd name="connsiteY3" fmla="*/ 6889561 h 6889561"/>
              <a:gd name="connsiteX4" fmla="*/ 2111432 w 2164425"/>
              <a:gd name="connsiteY4" fmla="*/ 19092 h 6889561"/>
              <a:gd name="connsiteX0" fmla="*/ 2098790 w 2151783"/>
              <a:gd name="connsiteY0" fmla="*/ 19092 h 6875272"/>
              <a:gd name="connsiteX1" fmla="*/ 2151783 w 2151783"/>
              <a:gd name="connsiteY1" fmla="*/ 0 h 6875272"/>
              <a:gd name="connsiteX2" fmla="*/ 2142187 w 2151783"/>
              <a:gd name="connsiteY2" fmla="*/ 6875272 h 6875272"/>
              <a:gd name="connsiteX3" fmla="*/ 0 w 2151783"/>
              <a:gd name="connsiteY3" fmla="*/ 6838995 h 6875272"/>
              <a:gd name="connsiteX4" fmla="*/ 2098790 w 2151783"/>
              <a:gd name="connsiteY4" fmla="*/ 19092 h 6875272"/>
              <a:gd name="connsiteX0" fmla="*/ 2107218 w 2160211"/>
              <a:gd name="connsiteY0" fmla="*/ 19092 h 6875272"/>
              <a:gd name="connsiteX1" fmla="*/ 2160211 w 2160211"/>
              <a:gd name="connsiteY1" fmla="*/ 0 h 6875272"/>
              <a:gd name="connsiteX2" fmla="*/ 2150615 w 2160211"/>
              <a:gd name="connsiteY2" fmla="*/ 6875272 h 6875272"/>
              <a:gd name="connsiteX3" fmla="*/ 0 w 2160211"/>
              <a:gd name="connsiteY3" fmla="*/ 6872705 h 6875272"/>
              <a:gd name="connsiteX4" fmla="*/ 2107218 w 2160211"/>
              <a:gd name="connsiteY4" fmla="*/ 19092 h 6875272"/>
              <a:gd name="connsiteX0" fmla="*/ 2107218 w 2168638"/>
              <a:gd name="connsiteY0" fmla="*/ 0 h 6856180"/>
              <a:gd name="connsiteX1" fmla="*/ 2168638 w 2168638"/>
              <a:gd name="connsiteY1" fmla="*/ 1978 h 6856180"/>
              <a:gd name="connsiteX2" fmla="*/ 2150615 w 2168638"/>
              <a:gd name="connsiteY2" fmla="*/ 6856180 h 6856180"/>
              <a:gd name="connsiteX3" fmla="*/ 0 w 2168638"/>
              <a:gd name="connsiteY3" fmla="*/ 6853613 h 6856180"/>
              <a:gd name="connsiteX4" fmla="*/ 2107218 w 2168638"/>
              <a:gd name="connsiteY4" fmla="*/ 0 h 6856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8638" h="6856180">
                <a:moveTo>
                  <a:pt x="2107218" y="0"/>
                </a:moveTo>
                <a:lnTo>
                  <a:pt x="2168638" y="1978"/>
                </a:lnTo>
                <a:cubicBezTo>
                  <a:pt x="2168638" y="2281050"/>
                  <a:pt x="2150615" y="4577108"/>
                  <a:pt x="2150615" y="6856180"/>
                </a:cubicBezTo>
                <a:lnTo>
                  <a:pt x="0" y="6853613"/>
                </a:lnTo>
                <a:lnTo>
                  <a:pt x="2107218" y="0"/>
                </a:lnTo>
                <a:close/>
              </a:path>
            </a:pathLst>
          </a:custGeom>
          <a:solidFill>
            <a:schemeClr val="bg1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/>
              <a:t>    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 bwMode="auto">
          <a:xfrm>
            <a:off x="2451331" y="1177658"/>
            <a:ext cx="6957037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Grafik 75"/>
          <p:cNvPicPr>
            <a:picLocks noGrp="1" noChangeAspect="1"/>
          </p:cNvPicPr>
          <p:nvPr>
            <p:ph idx="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63893" y="282699"/>
            <a:ext cx="1080407" cy="10774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362104" y="6453343"/>
            <a:ext cx="590549" cy="252413"/>
          </a:xfrm>
          <a:prstGeom prst="rect">
            <a:avLst/>
          </a:prstGeom>
        </p:spPr>
        <p:txBody>
          <a:bodyPr/>
          <a:lstStyle/>
          <a:p>
            <a:r>
              <a:rPr lang="fr-BE" dirty="0"/>
              <a:t>6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8355CE10-7E6B-F24B-AABC-986F5EA5E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1331" y="472705"/>
            <a:ext cx="8697315" cy="887413"/>
          </a:xfrm>
        </p:spPr>
        <p:txBody>
          <a:bodyPr/>
          <a:lstStyle/>
          <a:p>
            <a:r>
              <a:rPr lang="nl-BE" sz="4400" dirty="0">
                <a:solidFill>
                  <a:schemeClr val="tx1"/>
                </a:solidFill>
                <a:latin typeface="Calibri" panose="020F0502020204030204" pitchFamily="34" charset="0"/>
              </a:rPr>
              <a:t>2. Studie over het risicogedrag</a:t>
            </a:r>
          </a:p>
        </p:txBody>
      </p:sp>
    </p:spTree>
    <p:extLst>
      <p:ext uri="{BB962C8B-B14F-4D97-AF65-F5344CB8AC3E}">
        <p14:creationId xmlns:p14="http://schemas.microsoft.com/office/powerpoint/2010/main" val="14841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gray">
          <a:xfrm>
            <a:off x="0" y="-27296"/>
            <a:ext cx="12192000" cy="6885296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Rounded Rectangle 1"/>
          <p:cNvSpPr/>
          <p:nvPr/>
        </p:nvSpPr>
        <p:spPr bwMode="gray">
          <a:xfrm>
            <a:off x="1497417" y="1028560"/>
            <a:ext cx="8787937" cy="4977787"/>
          </a:xfrm>
          <a:prstGeom prst="roundRect">
            <a:avLst>
              <a:gd name="adj" fmla="val 4299"/>
            </a:avLst>
          </a:prstGeom>
          <a:solidFill>
            <a:schemeClr val="bg2">
              <a:lumMod val="75000"/>
              <a:alpha val="8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In het kader van de problematiek rond stiptheid en veiligheid, </a:t>
            </a:r>
            <a:br>
              <a:rPr lang="nl-BE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wil Infrabel het maatschappelijk gedragsprobleem </a:t>
            </a:r>
            <a:br>
              <a:rPr lang="nl-BE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rond spoorlopen en onvoorzichtig gedrag aan </a:t>
            </a:r>
            <a:br>
              <a:rPr lang="nl-BE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</a:br>
            <a:r>
              <a:rPr lang="nl-BE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de spoorwegen beter begrijpen. </a:t>
            </a:r>
          </a:p>
          <a:p>
            <a:pPr fontAlgn="auto">
              <a:spcBef>
                <a:spcPts val="300"/>
              </a:spcBef>
              <a:spcAft>
                <a:spcPts val="0"/>
              </a:spcAft>
            </a:pPr>
            <a:endParaRPr lang="nl-BE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Arial" pitchFamily="34" charset="0"/>
            </a:endParaRPr>
          </a:p>
          <a:p>
            <a:pPr fontAlgn="auto">
              <a:spcBef>
                <a:spcPts val="300"/>
              </a:spcBef>
              <a:spcAft>
                <a:spcPts val="0"/>
              </a:spcAft>
            </a:pPr>
            <a:r>
              <a:rPr lang="nl-BE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Focus op 3 deelvragen:</a:t>
            </a:r>
          </a:p>
          <a:p>
            <a:pPr fontAlgn="auto">
              <a:spcBef>
                <a:spcPts val="300"/>
              </a:spcBef>
              <a:spcAft>
                <a:spcPts val="0"/>
              </a:spcAft>
            </a:pPr>
            <a:endParaRPr lang="nl-BE" sz="24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Arial" pitchFamily="34" charset="0"/>
            </a:endParaRPr>
          </a:p>
          <a:p>
            <a:pPr marL="2335213"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1) Wie doet dit? </a:t>
            </a:r>
          </a:p>
          <a:p>
            <a:pPr marL="2335213"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2) Welke risico’s nemen ze juist? </a:t>
            </a:r>
          </a:p>
          <a:p>
            <a:pPr marL="2335213"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2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Arial" pitchFamily="34" charset="0"/>
              </a:rPr>
              <a:t>3) Waarom nemen ze deze risico’s? </a:t>
            </a:r>
          </a:p>
        </p:txBody>
      </p:sp>
    </p:spTree>
    <p:extLst>
      <p:ext uri="{BB962C8B-B14F-4D97-AF65-F5344CB8AC3E}">
        <p14:creationId xmlns:p14="http://schemas.microsoft.com/office/powerpoint/2010/main" val="393318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2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710681" y="1418598"/>
            <a:ext cx="5499609" cy="4665213"/>
          </a:xfrm>
          <a:prstGeom prst="rect">
            <a:avLst/>
          </a:prstGeom>
          <a:noFill/>
          <a:ln w="38100">
            <a:solidFill>
              <a:schemeClr val="bg1">
                <a:lumMod val="85000"/>
              </a:schemeClr>
            </a:solidFill>
            <a:prstDash val="solid"/>
          </a:ln>
          <a:effectLst/>
        </p:spPr>
        <p:txBody>
          <a:bodyPr lIns="120000" tIns="62400" rIns="120000" bIns="624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 marL="241294" indent="-241294" algn="l" defTabSz="1219170" fontAlgn="auto">
              <a:spcBef>
                <a:spcPts val="267"/>
              </a:spcBef>
              <a:buSzPts val="1200"/>
              <a:defRPr/>
            </a:pPr>
            <a:endParaRPr lang="nl-NL" sz="1867" dirty="0">
              <a:solidFill>
                <a:srgbClr val="00B05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408" y="332656"/>
            <a:ext cx="8317588" cy="768107"/>
          </a:xfrm>
        </p:spPr>
        <p:txBody>
          <a:bodyPr/>
          <a:lstStyle/>
          <a:p>
            <a:r>
              <a:rPr lang="nl-BE" sz="2800" b="1" dirty="0">
                <a:solidFill>
                  <a:srgbClr val="0070C0"/>
                </a:solidFill>
                <a:latin typeface="Calibri" panose="020F0502020204030204" pitchFamily="34" charset="0"/>
              </a:rPr>
              <a:t>Methodologie</a:t>
            </a:r>
          </a:p>
        </p:txBody>
      </p:sp>
      <p:grpSp>
        <p:nvGrpSpPr>
          <p:cNvPr id="49" name="Group 48"/>
          <p:cNvGrpSpPr>
            <a:grpSpLocks noChangeAspect="1"/>
          </p:cNvGrpSpPr>
          <p:nvPr/>
        </p:nvGrpSpPr>
        <p:grpSpPr>
          <a:xfrm>
            <a:off x="911424" y="1587442"/>
            <a:ext cx="672075" cy="672075"/>
            <a:chOff x="304800" y="2392363"/>
            <a:chExt cx="731838" cy="731837"/>
          </a:xfrm>
          <a:solidFill>
            <a:schemeClr val="accent1"/>
          </a:solidFill>
        </p:grpSpPr>
        <p:sp>
          <p:nvSpPr>
            <p:cNvPr id="50" name="Freeform 37"/>
            <p:cNvSpPr>
              <a:spLocks/>
            </p:cNvSpPr>
            <p:nvPr/>
          </p:nvSpPr>
          <p:spPr bwMode="auto">
            <a:xfrm>
              <a:off x="427038" y="2601913"/>
              <a:ext cx="385763" cy="293687"/>
            </a:xfrm>
            <a:custGeom>
              <a:avLst/>
              <a:gdLst>
                <a:gd name="T0" fmla="*/ 429 w 455"/>
                <a:gd name="T1" fmla="*/ 145 h 347"/>
                <a:gd name="T2" fmla="*/ 430 w 455"/>
                <a:gd name="T3" fmla="*/ 134 h 347"/>
                <a:gd name="T4" fmla="*/ 251 w 455"/>
                <a:gd name="T5" fmla="*/ 12 h 347"/>
                <a:gd name="T6" fmla="*/ 212 w 455"/>
                <a:gd name="T7" fmla="*/ 24 h 347"/>
                <a:gd name="T8" fmla="*/ 160 w 455"/>
                <a:gd name="T9" fmla="*/ 0 h 347"/>
                <a:gd name="T10" fmla="*/ 12 w 455"/>
                <a:gd name="T11" fmla="*/ 122 h 347"/>
                <a:gd name="T12" fmla="*/ 18 w 455"/>
                <a:gd name="T13" fmla="*/ 144 h 347"/>
                <a:gd name="T14" fmla="*/ 0 w 455"/>
                <a:gd name="T15" fmla="*/ 178 h 347"/>
                <a:gd name="T16" fmla="*/ 92 w 455"/>
                <a:gd name="T17" fmla="*/ 335 h 347"/>
                <a:gd name="T18" fmla="*/ 114 w 455"/>
                <a:gd name="T19" fmla="*/ 329 h 347"/>
                <a:gd name="T20" fmla="*/ 152 w 455"/>
                <a:gd name="T21" fmla="*/ 347 h 347"/>
                <a:gd name="T22" fmla="*/ 254 w 455"/>
                <a:gd name="T23" fmla="*/ 310 h 347"/>
                <a:gd name="T24" fmla="*/ 284 w 455"/>
                <a:gd name="T25" fmla="*/ 283 h 347"/>
                <a:gd name="T26" fmla="*/ 309 w 455"/>
                <a:gd name="T27" fmla="*/ 296 h 347"/>
                <a:gd name="T28" fmla="*/ 407 w 455"/>
                <a:gd name="T29" fmla="*/ 282 h 347"/>
                <a:gd name="T30" fmla="*/ 442 w 455"/>
                <a:gd name="T31" fmla="*/ 251 h 347"/>
                <a:gd name="T32" fmla="*/ 455 w 455"/>
                <a:gd name="T33" fmla="*/ 191 h 347"/>
                <a:gd name="T34" fmla="*/ 429 w 455"/>
                <a:gd name="T35" fmla="*/ 145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5" h="347">
                  <a:moveTo>
                    <a:pt x="429" y="145"/>
                  </a:moveTo>
                  <a:cubicBezTo>
                    <a:pt x="429" y="141"/>
                    <a:pt x="430" y="138"/>
                    <a:pt x="430" y="134"/>
                  </a:cubicBezTo>
                  <a:cubicBezTo>
                    <a:pt x="360" y="100"/>
                    <a:pt x="300" y="58"/>
                    <a:pt x="251" y="12"/>
                  </a:cubicBezTo>
                  <a:cubicBezTo>
                    <a:pt x="240" y="20"/>
                    <a:pt x="227" y="24"/>
                    <a:pt x="212" y="24"/>
                  </a:cubicBezTo>
                  <a:cubicBezTo>
                    <a:pt x="192" y="24"/>
                    <a:pt x="173" y="15"/>
                    <a:pt x="160" y="0"/>
                  </a:cubicBezTo>
                  <a:cubicBezTo>
                    <a:pt x="102" y="37"/>
                    <a:pt x="52" y="79"/>
                    <a:pt x="12" y="122"/>
                  </a:cubicBezTo>
                  <a:cubicBezTo>
                    <a:pt x="16" y="129"/>
                    <a:pt x="18" y="136"/>
                    <a:pt x="18" y="144"/>
                  </a:cubicBezTo>
                  <a:cubicBezTo>
                    <a:pt x="18" y="158"/>
                    <a:pt x="11" y="171"/>
                    <a:pt x="0" y="178"/>
                  </a:cubicBezTo>
                  <a:cubicBezTo>
                    <a:pt x="21" y="232"/>
                    <a:pt x="51" y="286"/>
                    <a:pt x="92" y="335"/>
                  </a:cubicBezTo>
                  <a:cubicBezTo>
                    <a:pt x="98" y="331"/>
                    <a:pt x="106" y="329"/>
                    <a:pt x="114" y="329"/>
                  </a:cubicBezTo>
                  <a:cubicBezTo>
                    <a:pt x="130" y="329"/>
                    <a:pt x="143" y="336"/>
                    <a:pt x="152" y="347"/>
                  </a:cubicBezTo>
                  <a:cubicBezTo>
                    <a:pt x="184" y="333"/>
                    <a:pt x="219" y="320"/>
                    <a:pt x="254" y="310"/>
                  </a:cubicBezTo>
                  <a:cubicBezTo>
                    <a:pt x="256" y="295"/>
                    <a:pt x="268" y="283"/>
                    <a:pt x="284" y="283"/>
                  </a:cubicBezTo>
                  <a:cubicBezTo>
                    <a:pt x="295" y="283"/>
                    <a:pt x="304" y="288"/>
                    <a:pt x="309" y="296"/>
                  </a:cubicBezTo>
                  <a:cubicBezTo>
                    <a:pt x="342" y="289"/>
                    <a:pt x="375" y="285"/>
                    <a:pt x="407" y="282"/>
                  </a:cubicBezTo>
                  <a:cubicBezTo>
                    <a:pt x="410" y="265"/>
                    <a:pt x="424" y="253"/>
                    <a:pt x="442" y="251"/>
                  </a:cubicBezTo>
                  <a:cubicBezTo>
                    <a:pt x="444" y="230"/>
                    <a:pt x="449" y="211"/>
                    <a:pt x="455" y="191"/>
                  </a:cubicBezTo>
                  <a:cubicBezTo>
                    <a:pt x="440" y="182"/>
                    <a:pt x="429" y="165"/>
                    <a:pt x="429" y="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38"/>
            <p:cNvSpPr>
              <a:spLocks/>
            </p:cNvSpPr>
            <p:nvPr/>
          </p:nvSpPr>
          <p:spPr bwMode="auto">
            <a:xfrm>
              <a:off x="654050" y="2508250"/>
              <a:ext cx="336550" cy="190500"/>
            </a:xfrm>
            <a:custGeom>
              <a:avLst/>
              <a:gdLst>
                <a:gd name="T0" fmla="*/ 12 w 398"/>
                <a:gd name="T1" fmla="*/ 50 h 225"/>
                <a:gd name="T2" fmla="*/ 14 w 398"/>
                <a:gd name="T3" fmla="*/ 67 h 225"/>
                <a:gd name="T4" fmla="*/ 0 w 398"/>
                <a:gd name="T5" fmla="*/ 109 h 225"/>
                <a:gd name="T6" fmla="*/ 172 w 398"/>
                <a:gd name="T7" fmla="*/ 225 h 225"/>
                <a:gd name="T8" fmla="*/ 216 w 398"/>
                <a:gd name="T9" fmla="*/ 202 h 225"/>
                <a:gd name="T10" fmla="*/ 237 w 398"/>
                <a:gd name="T11" fmla="*/ 206 h 225"/>
                <a:gd name="T12" fmla="*/ 398 w 398"/>
                <a:gd name="T13" fmla="*/ 87 h 225"/>
                <a:gd name="T14" fmla="*/ 349 w 398"/>
                <a:gd name="T15" fmla="*/ 16 h 225"/>
                <a:gd name="T16" fmla="*/ 242 w 398"/>
                <a:gd name="T17" fmla="*/ 0 h 225"/>
                <a:gd name="T18" fmla="*/ 12 w 398"/>
                <a:gd name="T19" fmla="*/ 5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8" h="225">
                  <a:moveTo>
                    <a:pt x="12" y="50"/>
                  </a:moveTo>
                  <a:cubicBezTo>
                    <a:pt x="13" y="55"/>
                    <a:pt x="14" y="61"/>
                    <a:pt x="14" y="67"/>
                  </a:cubicBezTo>
                  <a:cubicBezTo>
                    <a:pt x="14" y="82"/>
                    <a:pt x="9" y="97"/>
                    <a:pt x="0" y="109"/>
                  </a:cubicBezTo>
                  <a:cubicBezTo>
                    <a:pt x="46" y="152"/>
                    <a:pt x="104" y="193"/>
                    <a:pt x="172" y="225"/>
                  </a:cubicBezTo>
                  <a:cubicBezTo>
                    <a:pt x="182" y="211"/>
                    <a:pt x="198" y="202"/>
                    <a:pt x="216" y="202"/>
                  </a:cubicBezTo>
                  <a:cubicBezTo>
                    <a:pt x="224" y="202"/>
                    <a:pt x="231" y="204"/>
                    <a:pt x="237" y="206"/>
                  </a:cubicBezTo>
                  <a:cubicBezTo>
                    <a:pt x="277" y="152"/>
                    <a:pt x="333" y="110"/>
                    <a:pt x="398" y="87"/>
                  </a:cubicBezTo>
                  <a:cubicBezTo>
                    <a:pt x="384" y="62"/>
                    <a:pt x="368" y="38"/>
                    <a:pt x="349" y="16"/>
                  </a:cubicBezTo>
                  <a:cubicBezTo>
                    <a:pt x="318" y="5"/>
                    <a:pt x="282" y="0"/>
                    <a:pt x="242" y="0"/>
                  </a:cubicBezTo>
                  <a:cubicBezTo>
                    <a:pt x="173" y="0"/>
                    <a:pt x="93" y="16"/>
                    <a:pt x="12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 39"/>
            <p:cNvSpPr>
              <a:spLocks/>
            </p:cNvSpPr>
            <p:nvPr/>
          </p:nvSpPr>
          <p:spPr bwMode="auto">
            <a:xfrm>
              <a:off x="815975" y="2749550"/>
              <a:ext cx="219075" cy="134937"/>
            </a:xfrm>
            <a:custGeom>
              <a:avLst/>
              <a:gdLst>
                <a:gd name="T0" fmla="*/ 25 w 260"/>
                <a:gd name="T1" fmla="*/ 25 h 160"/>
                <a:gd name="T2" fmla="*/ 12 w 260"/>
                <a:gd name="T3" fmla="*/ 24 h 160"/>
                <a:gd name="T4" fmla="*/ 0 w 260"/>
                <a:gd name="T5" fmla="*/ 78 h 160"/>
                <a:gd name="T6" fmla="*/ 29 w 260"/>
                <a:gd name="T7" fmla="*/ 106 h 160"/>
                <a:gd name="T8" fmla="*/ 235 w 260"/>
                <a:gd name="T9" fmla="*/ 160 h 160"/>
                <a:gd name="T10" fmla="*/ 260 w 260"/>
                <a:gd name="T11" fmla="*/ 36 h 160"/>
                <a:gd name="T12" fmla="*/ 71 w 260"/>
                <a:gd name="T13" fmla="*/ 0 h 160"/>
                <a:gd name="T14" fmla="*/ 25 w 260"/>
                <a:gd name="T15" fmla="*/ 2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0" h="160">
                  <a:moveTo>
                    <a:pt x="25" y="25"/>
                  </a:moveTo>
                  <a:cubicBezTo>
                    <a:pt x="21" y="25"/>
                    <a:pt x="16" y="25"/>
                    <a:pt x="12" y="24"/>
                  </a:cubicBezTo>
                  <a:cubicBezTo>
                    <a:pt x="7" y="41"/>
                    <a:pt x="3" y="59"/>
                    <a:pt x="0" y="78"/>
                  </a:cubicBezTo>
                  <a:cubicBezTo>
                    <a:pt x="14" y="82"/>
                    <a:pt x="25" y="93"/>
                    <a:pt x="29" y="106"/>
                  </a:cubicBezTo>
                  <a:cubicBezTo>
                    <a:pt x="109" y="110"/>
                    <a:pt x="181" y="128"/>
                    <a:pt x="235" y="160"/>
                  </a:cubicBezTo>
                  <a:cubicBezTo>
                    <a:pt x="249" y="121"/>
                    <a:pt x="258" y="79"/>
                    <a:pt x="260" y="36"/>
                  </a:cubicBezTo>
                  <a:cubicBezTo>
                    <a:pt x="201" y="34"/>
                    <a:pt x="137" y="22"/>
                    <a:pt x="71" y="0"/>
                  </a:cubicBezTo>
                  <a:cubicBezTo>
                    <a:pt x="61" y="15"/>
                    <a:pt x="45" y="25"/>
                    <a:pt x="25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40"/>
            <p:cNvSpPr>
              <a:spLocks/>
            </p:cNvSpPr>
            <p:nvPr/>
          </p:nvSpPr>
          <p:spPr bwMode="auto">
            <a:xfrm>
              <a:off x="401638" y="2419350"/>
              <a:ext cx="165100" cy="271462"/>
            </a:xfrm>
            <a:custGeom>
              <a:avLst/>
              <a:gdLst>
                <a:gd name="T0" fmla="*/ 21 w 195"/>
                <a:gd name="T1" fmla="*/ 321 h 321"/>
                <a:gd name="T2" fmla="*/ 177 w 195"/>
                <a:gd name="T3" fmla="*/ 193 h 321"/>
                <a:gd name="T4" fmla="*/ 174 w 195"/>
                <a:gd name="T5" fmla="*/ 172 h 321"/>
                <a:gd name="T6" fmla="*/ 195 w 195"/>
                <a:gd name="T7" fmla="*/ 122 h 321"/>
                <a:gd name="T8" fmla="*/ 157 w 195"/>
                <a:gd name="T9" fmla="*/ 0 h 321"/>
                <a:gd name="T10" fmla="*/ 35 w 195"/>
                <a:gd name="T11" fmla="*/ 74 h 321"/>
                <a:gd name="T12" fmla="*/ 0 w 195"/>
                <a:gd name="T13" fmla="*/ 231 h 321"/>
                <a:gd name="T14" fmla="*/ 9 w 195"/>
                <a:gd name="T15" fmla="*/ 319 h 321"/>
                <a:gd name="T16" fmla="*/ 21 w 195"/>
                <a:gd name="T17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321">
                  <a:moveTo>
                    <a:pt x="21" y="321"/>
                  </a:moveTo>
                  <a:cubicBezTo>
                    <a:pt x="64" y="275"/>
                    <a:pt x="116" y="231"/>
                    <a:pt x="177" y="193"/>
                  </a:cubicBezTo>
                  <a:cubicBezTo>
                    <a:pt x="175" y="186"/>
                    <a:pt x="174" y="179"/>
                    <a:pt x="174" y="172"/>
                  </a:cubicBezTo>
                  <a:cubicBezTo>
                    <a:pt x="174" y="152"/>
                    <a:pt x="182" y="135"/>
                    <a:pt x="195" y="122"/>
                  </a:cubicBezTo>
                  <a:cubicBezTo>
                    <a:pt x="171" y="81"/>
                    <a:pt x="158" y="40"/>
                    <a:pt x="157" y="0"/>
                  </a:cubicBezTo>
                  <a:cubicBezTo>
                    <a:pt x="112" y="18"/>
                    <a:pt x="71" y="43"/>
                    <a:pt x="35" y="74"/>
                  </a:cubicBezTo>
                  <a:cubicBezTo>
                    <a:pt x="11" y="121"/>
                    <a:pt x="0" y="175"/>
                    <a:pt x="0" y="231"/>
                  </a:cubicBezTo>
                  <a:cubicBezTo>
                    <a:pt x="0" y="260"/>
                    <a:pt x="3" y="289"/>
                    <a:pt x="9" y="319"/>
                  </a:cubicBezTo>
                  <a:cubicBezTo>
                    <a:pt x="13" y="319"/>
                    <a:pt x="17" y="320"/>
                    <a:pt x="21" y="3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 41"/>
            <p:cNvSpPr>
              <a:spLocks/>
            </p:cNvSpPr>
            <p:nvPr/>
          </p:nvSpPr>
          <p:spPr bwMode="auto">
            <a:xfrm>
              <a:off x="341313" y="2755900"/>
              <a:ext cx="147638" cy="246062"/>
            </a:xfrm>
            <a:custGeom>
              <a:avLst/>
              <a:gdLst>
                <a:gd name="T0" fmla="*/ 166 w 174"/>
                <a:gd name="T1" fmla="*/ 195 h 289"/>
                <a:gd name="T2" fmla="*/ 174 w 174"/>
                <a:gd name="T3" fmla="*/ 169 h 289"/>
                <a:gd name="T4" fmla="*/ 77 w 174"/>
                <a:gd name="T5" fmla="*/ 3 h 289"/>
                <a:gd name="T6" fmla="*/ 64 w 174"/>
                <a:gd name="T7" fmla="*/ 0 h 289"/>
                <a:gd name="T8" fmla="*/ 0 w 174"/>
                <a:gd name="T9" fmla="*/ 173 h 289"/>
                <a:gd name="T10" fmla="*/ 1 w 174"/>
                <a:gd name="T11" fmla="*/ 195 h 289"/>
                <a:gd name="T12" fmla="*/ 65 w 174"/>
                <a:gd name="T13" fmla="*/ 289 h 289"/>
                <a:gd name="T14" fmla="*/ 168 w 174"/>
                <a:gd name="T15" fmla="*/ 208 h 289"/>
                <a:gd name="T16" fmla="*/ 166 w 174"/>
                <a:gd name="T17" fmla="*/ 19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4" h="289">
                  <a:moveTo>
                    <a:pt x="166" y="195"/>
                  </a:moveTo>
                  <a:cubicBezTo>
                    <a:pt x="166" y="185"/>
                    <a:pt x="169" y="177"/>
                    <a:pt x="174" y="169"/>
                  </a:cubicBezTo>
                  <a:cubicBezTo>
                    <a:pt x="131" y="117"/>
                    <a:pt x="98" y="61"/>
                    <a:pt x="77" y="3"/>
                  </a:cubicBezTo>
                  <a:cubicBezTo>
                    <a:pt x="72" y="3"/>
                    <a:pt x="68" y="2"/>
                    <a:pt x="64" y="0"/>
                  </a:cubicBezTo>
                  <a:cubicBezTo>
                    <a:pt x="22" y="60"/>
                    <a:pt x="0" y="120"/>
                    <a:pt x="0" y="173"/>
                  </a:cubicBezTo>
                  <a:cubicBezTo>
                    <a:pt x="0" y="180"/>
                    <a:pt x="1" y="188"/>
                    <a:pt x="1" y="195"/>
                  </a:cubicBezTo>
                  <a:cubicBezTo>
                    <a:pt x="19" y="229"/>
                    <a:pt x="40" y="261"/>
                    <a:pt x="65" y="289"/>
                  </a:cubicBezTo>
                  <a:cubicBezTo>
                    <a:pt x="94" y="260"/>
                    <a:pt x="128" y="233"/>
                    <a:pt x="168" y="208"/>
                  </a:cubicBezTo>
                  <a:cubicBezTo>
                    <a:pt x="167" y="204"/>
                    <a:pt x="166" y="199"/>
                    <a:pt x="166" y="1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 42"/>
            <p:cNvSpPr>
              <a:spLocks/>
            </p:cNvSpPr>
            <p:nvPr/>
          </p:nvSpPr>
          <p:spPr bwMode="auto">
            <a:xfrm>
              <a:off x="814388" y="2857500"/>
              <a:ext cx="193675" cy="179387"/>
            </a:xfrm>
            <a:custGeom>
              <a:avLst/>
              <a:gdLst>
                <a:gd name="T0" fmla="*/ 0 w 228"/>
                <a:gd name="T1" fmla="*/ 30 h 211"/>
                <a:gd name="T2" fmla="*/ 83 w 228"/>
                <a:gd name="T3" fmla="*/ 211 h 211"/>
                <a:gd name="T4" fmla="*/ 129 w 228"/>
                <a:gd name="T5" fmla="*/ 195 h 211"/>
                <a:gd name="T6" fmla="*/ 228 w 228"/>
                <a:gd name="T7" fmla="*/ 52 h 211"/>
                <a:gd name="T8" fmla="*/ 30 w 228"/>
                <a:gd name="T9" fmla="*/ 0 h 211"/>
                <a:gd name="T10" fmla="*/ 0 w 228"/>
                <a:gd name="T11" fmla="*/ 3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8" h="211">
                  <a:moveTo>
                    <a:pt x="0" y="30"/>
                  </a:moveTo>
                  <a:cubicBezTo>
                    <a:pt x="8" y="99"/>
                    <a:pt x="38" y="162"/>
                    <a:pt x="83" y="211"/>
                  </a:cubicBezTo>
                  <a:cubicBezTo>
                    <a:pt x="99" y="207"/>
                    <a:pt x="114" y="201"/>
                    <a:pt x="129" y="195"/>
                  </a:cubicBezTo>
                  <a:cubicBezTo>
                    <a:pt x="171" y="155"/>
                    <a:pt x="204" y="106"/>
                    <a:pt x="228" y="52"/>
                  </a:cubicBezTo>
                  <a:cubicBezTo>
                    <a:pt x="178" y="22"/>
                    <a:pt x="109" y="3"/>
                    <a:pt x="30" y="0"/>
                  </a:cubicBezTo>
                  <a:cubicBezTo>
                    <a:pt x="26" y="15"/>
                    <a:pt x="15" y="26"/>
                    <a:pt x="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43"/>
            <p:cNvSpPr>
              <a:spLocks/>
            </p:cNvSpPr>
            <p:nvPr/>
          </p:nvSpPr>
          <p:spPr bwMode="auto">
            <a:xfrm>
              <a:off x="866775" y="2593975"/>
              <a:ext cx="169863" cy="166687"/>
            </a:xfrm>
            <a:custGeom>
              <a:avLst/>
              <a:gdLst>
                <a:gd name="T0" fmla="*/ 155 w 201"/>
                <a:gd name="T1" fmla="*/ 0 h 197"/>
                <a:gd name="T2" fmla="*/ 31 w 201"/>
                <a:gd name="T3" fmla="*/ 77 h 197"/>
                <a:gd name="T4" fmla="*/ 0 w 201"/>
                <a:gd name="T5" fmla="*/ 113 h 197"/>
                <a:gd name="T6" fmla="*/ 19 w 201"/>
                <a:gd name="T7" fmla="*/ 154 h 197"/>
                <a:gd name="T8" fmla="*/ 19 w 201"/>
                <a:gd name="T9" fmla="*/ 163 h 197"/>
                <a:gd name="T10" fmla="*/ 201 w 201"/>
                <a:gd name="T11" fmla="*/ 197 h 197"/>
                <a:gd name="T12" fmla="*/ 201 w 201"/>
                <a:gd name="T13" fmla="*/ 194 h 197"/>
                <a:gd name="T14" fmla="*/ 155 w 201"/>
                <a:gd name="T15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1" h="197">
                  <a:moveTo>
                    <a:pt x="155" y="0"/>
                  </a:moveTo>
                  <a:cubicBezTo>
                    <a:pt x="108" y="16"/>
                    <a:pt x="66" y="42"/>
                    <a:pt x="31" y="77"/>
                  </a:cubicBezTo>
                  <a:cubicBezTo>
                    <a:pt x="20" y="88"/>
                    <a:pt x="10" y="100"/>
                    <a:pt x="0" y="113"/>
                  </a:cubicBezTo>
                  <a:cubicBezTo>
                    <a:pt x="12" y="123"/>
                    <a:pt x="19" y="138"/>
                    <a:pt x="19" y="154"/>
                  </a:cubicBezTo>
                  <a:cubicBezTo>
                    <a:pt x="19" y="157"/>
                    <a:pt x="19" y="160"/>
                    <a:pt x="19" y="163"/>
                  </a:cubicBezTo>
                  <a:cubicBezTo>
                    <a:pt x="82" y="184"/>
                    <a:pt x="144" y="195"/>
                    <a:pt x="201" y="197"/>
                  </a:cubicBezTo>
                  <a:cubicBezTo>
                    <a:pt x="201" y="196"/>
                    <a:pt x="201" y="195"/>
                    <a:pt x="201" y="194"/>
                  </a:cubicBezTo>
                  <a:cubicBezTo>
                    <a:pt x="201" y="124"/>
                    <a:pt x="184" y="58"/>
                    <a:pt x="15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44"/>
            <p:cNvSpPr>
              <a:spLocks/>
            </p:cNvSpPr>
            <p:nvPr/>
          </p:nvSpPr>
          <p:spPr bwMode="auto">
            <a:xfrm>
              <a:off x="304800" y="2519363"/>
              <a:ext cx="88900" cy="350837"/>
            </a:xfrm>
            <a:custGeom>
              <a:avLst/>
              <a:gdLst>
                <a:gd name="T0" fmla="*/ 80 w 105"/>
                <a:gd name="T1" fmla="*/ 241 h 414"/>
                <a:gd name="T2" fmla="*/ 99 w 105"/>
                <a:gd name="T3" fmla="*/ 206 h 414"/>
                <a:gd name="T4" fmla="*/ 89 w 105"/>
                <a:gd name="T5" fmla="*/ 112 h 414"/>
                <a:gd name="T6" fmla="*/ 105 w 105"/>
                <a:gd name="T7" fmla="*/ 0 h 414"/>
                <a:gd name="T8" fmla="*/ 0 w 105"/>
                <a:gd name="T9" fmla="*/ 282 h 414"/>
                <a:gd name="T10" fmla="*/ 21 w 105"/>
                <a:gd name="T11" fmla="*/ 414 h 414"/>
                <a:gd name="T12" fmla="*/ 87 w 105"/>
                <a:gd name="T13" fmla="*/ 264 h 414"/>
                <a:gd name="T14" fmla="*/ 80 w 105"/>
                <a:gd name="T15" fmla="*/ 241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414">
                  <a:moveTo>
                    <a:pt x="80" y="241"/>
                  </a:moveTo>
                  <a:cubicBezTo>
                    <a:pt x="80" y="226"/>
                    <a:pt x="87" y="214"/>
                    <a:pt x="99" y="206"/>
                  </a:cubicBezTo>
                  <a:cubicBezTo>
                    <a:pt x="92" y="175"/>
                    <a:pt x="89" y="143"/>
                    <a:pt x="89" y="112"/>
                  </a:cubicBezTo>
                  <a:cubicBezTo>
                    <a:pt x="89" y="74"/>
                    <a:pt x="94" y="36"/>
                    <a:pt x="105" y="0"/>
                  </a:cubicBezTo>
                  <a:cubicBezTo>
                    <a:pt x="39" y="76"/>
                    <a:pt x="0" y="174"/>
                    <a:pt x="0" y="282"/>
                  </a:cubicBezTo>
                  <a:cubicBezTo>
                    <a:pt x="0" y="328"/>
                    <a:pt x="7" y="372"/>
                    <a:pt x="21" y="414"/>
                  </a:cubicBezTo>
                  <a:cubicBezTo>
                    <a:pt x="29" y="365"/>
                    <a:pt x="52" y="314"/>
                    <a:pt x="87" y="264"/>
                  </a:cubicBezTo>
                  <a:cubicBezTo>
                    <a:pt x="82" y="257"/>
                    <a:pt x="80" y="249"/>
                    <a:pt x="80" y="2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45"/>
            <p:cNvSpPr>
              <a:spLocks/>
            </p:cNvSpPr>
            <p:nvPr/>
          </p:nvSpPr>
          <p:spPr bwMode="auto">
            <a:xfrm>
              <a:off x="409575" y="2949575"/>
              <a:ext cx="468313" cy="174625"/>
            </a:xfrm>
            <a:custGeom>
              <a:avLst/>
              <a:gdLst>
                <a:gd name="T0" fmla="*/ 478 w 553"/>
                <a:gd name="T1" fmla="*/ 139 h 207"/>
                <a:gd name="T2" fmla="*/ 160 w 553"/>
                <a:gd name="T3" fmla="*/ 10 h 207"/>
                <a:gd name="T4" fmla="*/ 135 w 553"/>
                <a:gd name="T5" fmla="*/ 17 h 207"/>
                <a:gd name="T6" fmla="*/ 99 w 553"/>
                <a:gd name="T7" fmla="*/ 0 h 207"/>
                <a:gd name="T8" fmla="*/ 0 w 553"/>
                <a:gd name="T9" fmla="*/ 78 h 207"/>
                <a:gd name="T10" fmla="*/ 308 w 553"/>
                <a:gd name="T11" fmla="*/ 207 h 207"/>
                <a:gd name="T12" fmla="*/ 553 w 553"/>
                <a:gd name="T13" fmla="*/ 131 h 207"/>
                <a:gd name="T14" fmla="*/ 478 w 553"/>
                <a:gd name="T15" fmla="*/ 139 h 207"/>
                <a:gd name="T16" fmla="*/ 478 w 553"/>
                <a:gd name="T17" fmla="*/ 139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3" h="207">
                  <a:moveTo>
                    <a:pt x="478" y="139"/>
                  </a:moveTo>
                  <a:cubicBezTo>
                    <a:pt x="370" y="139"/>
                    <a:pt x="255" y="94"/>
                    <a:pt x="160" y="10"/>
                  </a:cubicBezTo>
                  <a:cubicBezTo>
                    <a:pt x="153" y="14"/>
                    <a:pt x="144" y="17"/>
                    <a:pt x="135" y="17"/>
                  </a:cubicBezTo>
                  <a:cubicBezTo>
                    <a:pt x="121" y="17"/>
                    <a:pt x="108" y="10"/>
                    <a:pt x="99" y="0"/>
                  </a:cubicBezTo>
                  <a:cubicBezTo>
                    <a:pt x="60" y="24"/>
                    <a:pt x="27" y="50"/>
                    <a:pt x="0" y="78"/>
                  </a:cubicBezTo>
                  <a:cubicBezTo>
                    <a:pt x="79" y="158"/>
                    <a:pt x="188" y="207"/>
                    <a:pt x="308" y="207"/>
                  </a:cubicBezTo>
                  <a:cubicBezTo>
                    <a:pt x="399" y="207"/>
                    <a:pt x="483" y="179"/>
                    <a:pt x="553" y="131"/>
                  </a:cubicBezTo>
                  <a:cubicBezTo>
                    <a:pt x="529" y="136"/>
                    <a:pt x="504" y="139"/>
                    <a:pt x="478" y="139"/>
                  </a:cubicBezTo>
                  <a:cubicBezTo>
                    <a:pt x="478" y="139"/>
                    <a:pt x="478" y="139"/>
                    <a:pt x="478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46"/>
            <p:cNvSpPr>
              <a:spLocks/>
            </p:cNvSpPr>
            <p:nvPr/>
          </p:nvSpPr>
          <p:spPr bwMode="auto">
            <a:xfrm>
              <a:off x="560388" y="2859088"/>
              <a:ext cx="309563" cy="185737"/>
            </a:xfrm>
            <a:custGeom>
              <a:avLst/>
              <a:gdLst>
                <a:gd name="T0" fmla="*/ 300 w 365"/>
                <a:gd name="T1" fmla="*/ 219 h 219"/>
                <a:gd name="T2" fmla="*/ 365 w 365"/>
                <a:gd name="T3" fmla="*/ 213 h 219"/>
                <a:gd name="T4" fmla="*/ 284 w 365"/>
                <a:gd name="T5" fmla="*/ 29 h 219"/>
                <a:gd name="T6" fmla="*/ 250 w 365"/>
                <a:gd name="T7" fmla="*/ 0 h 219"/>
                <a:gd name="T8" fmla="*/ 156 w 365"/>
                <a:gd name="T9" fmla="*/ 13 h 219"/>
                <a:gd name="T10" fmla="*/ 127 w 365"/>
                <a:gd name="T11" fmla="*/ 39 h 219"/>
                <a:gd name="T12" fmla="*/ 103 w 365"/>
                <a:gd name="T13" fmla="*/ 27 h 219"/>
                <a:gd name="T14" fmla="*/ 5 w 365"/>
                <a:gd name="T15" fmla="*/ 62 h 219"/>
                <a:gd name="T16" fmla="*/ 6 w 365"/>
                <a:gd name="T17" fmla="*/ 74 h 219"/>
                <a:gd name="T18" fmla="*/ 0 w 365"/>
                <a:gd name="T19" fmla="*/ 98 h 219"/>
                <a:gd name="T20" fmla="*/ 300 w 365"/>
                <a:gd name="T21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5" h="219">
                  <a:moveTo>
                    <a:pt x="300" y="219"/>
                  </a:moveTo>
                  <a:cubicBezTo>
                    <a:pt x="322" y="219"/>
                    <a:pt x="344" y="217"/>
                    <a:pt x="365" y="213"/>
                  </a:cubicBezTo>
                  <a:cubicBezTo>
                    <a:pt x="321" y="162"/>
                    <a:pt x="292" y="99"/>
                    <a:pt x="284" y="29"/>
                  </a:cubicBezTo>
                  <a:cubicBezTo>
                    <a:pt x="268" y="26"/>
                    <a:pt x="255" y="15"/>
                    <a:pt x="250" y="0"/>
                  </a:cubicBezTo>
                  <a:cubicBezTo>
                    <a:pt x="220" y="2"/>
                    <a:pt x="188" y="7"/>
                    <a:pt x="156" y="13"/>
                  </a:cubicBezTo>
                  <a:cubicBezTo>
                    <a:pt x="154" y="28"/>
                    <a:pt x="142" y="39"/>
                    <a:pt x="127" y="39"/>
                  </a:cubicBezTo>
                  <a:cubicBezTo>
                    <a:pt x="117" y="39"/>
                    <a:pt x="109" y="34"/>
                    <a:pt x="103" y="27"/>
                  </a:cubicBezTo>
                  <a:cubicBezTo>
                    <a:pt x="69" y="36"/>
                    <a:pt x="36" y="48"/>
                    <a:pt x="5" y="62"/>
                  </a:cubicBezTo>
                  <a:cubicBezTo>
                    <a:pt x="6" y="66"/>
                    <a:pt x="6" y="70"/>
                    <a:pt x="6" y="74"/>
                  </a:cubicBezTo>
                  <a:cubicBezTo>
                    <a:pt x="6" y="83"/>
                    <a:pt x="4" y="91"/>
                    <a:pt x="0" y="98"/>
                  </a:cubicBezTo>
                  <a:cubicBezTo>
                    <a:pt x="91" y="177"/>
                    <a:pt x="200" y="219"/>
                    <a:pt x="300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47"/>
            <p:cNvSpPr>
              <a:spLocks/>
            </p:cNvSpPr>
            <p:nvPr/>
          </p:nvSpPr>
          <p:spPr bwMode="auto">
            <a:xfrm>
              <a:off x="552450" y="2392363"/>
              <a:ext cx="366713" cy="136525"/>
            </a:xfrm>
            <a:custGeom>
              <a:avLst/>
              <a:gdLst>
                <a:gd name="T0" fmla="*/ 64 w 432"/>
                <a:gd name="T1" fmla="*/ 134 h 162"/>
                <a:gd name="T2" fmla="*/ 120 w 432"/>
                <a:gd name="T3" fmla="*/ 162 h 162"/>
                <a:gd name="T4" fmla="*/ 361 w 432"/>
                <a:gd name="T5" fmla="*/ 109 h 162"/>
                <a:gd name="T6" fmla="*/ 432 w 432"/>
                <a:gd name="T7" fmla="*/ 115 h 162"/>
                <a:gd name="T8" fmla="*/ 139 w 432"/>
                <a:gd name="T9" fmla="*/ 0 h 162"/>
                <a:gd name="T10" fmla="*/ 1 w 432"/>
                <a:gd name="T11" fmla="*/ 23 h 162"/>
                <a:gd name="T12" fmla="*/ 1 w 432"/>
                <a:gd name="T13" fmla="*/ 27 h 162"/>
                <a:gd name="T14" fmla="*/ 35 w 432"/>
                <a:gd name="T15" fmla="*/ 141 h 162"/>
                <a:gd name="T16" fmla="*/ 64 w 432"/>
                <a:gd name="T17" fmla="*/ 13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162">
                  <a:moveTo>
                    <a:pt x="64" y="134"/>
                  </a:moveTo>
                  <a:cubicBezTo>
                    <a:pt x="87" y="134"/>
                    <a:pt x="107" y="145"/>
                    <a:pt x="120" y="162"/>
                  </a:cubicBezTo>
                  <a:cubicBezTo>
                    <a:pt x="204" y="127"/>
                    <a:pt x="287" y="109"/>
                    <a:pt x="361" y="109"/>
                  </a:cubicBezTo>
                  <a:cubicBezTo>
                    <a:pt x="386" y="109"/>
                    <a:pt x="410" y="111"/>
                    <a:pt x="432" y="115"/>
                  </a:cubicBezTo>
                  <a:cubicBezTo>
                    <a:pt x="355" y="44"/>
                    <a:pt x="252" y="0"/>
                    <a:pt x="139" y="0"/>
                  </a:cubicBezTo>
                  <a:cubicBezTo>
                    <a:pt x="91" y="0"/>
                    <a:pt x="44" y="8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0" y="63"/>
                    <a:pt x="12" y="102"/>
                    <a:pt x="35" y="141"/>
                  </a:cubicBezTo>
                  <a:cubicBezTo>
                    <a:pt x="44" y="136"/>
                    <a:pt x="54" y="134"/>
                    <a:pt x="64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944955" y="4054310"/>
            <a:ext cx="709579" cy="673100"/>
            <a:chOff x="5451135" y="843558"/>
            <a:chExt cx="284495" cy="267475"/>
          </a:xfrm>
          <a:solidFill>
            <a:srgbClr val="0069B4"/>
          </a:solidFill>
        </p:grpSpPr>
        <p:sp>
          <p:nvSpPr>
            <p:cNvPr id="62" name="Freeform 23"/>
            <p:cNvSpPr>
              <a:spLocks/>
            </p:cNvSpPr>
            <p:nvPr/>
          </p:nvSpPr>
          <p:spPr bwMode="auto">
            <a:xfrm>
              <a:off x="5451135" y="843847"/>
              <a:ext cx="120884" cy="179706"/>
            </a:xfrm>
            <a:custGeom>
              <a:avLst/>
              <a:gdLst>
                <a:gd name="T0" fmla="*/ 209 w 884"/>
                <a:gd name="T1" fmla="*/ 402 h 1314"/>
                <a:gd name="T2" fmla="*/ 200 w 884"/>
                <a:gd name="T3" fmla="*/ 257 h 1314"/>
                <a:gd name="T4" fmla="*/ 202 w 884"/>
                <a:gd name="T5" fmla="*/ 212 h 1314"/>
                <a:gd name="T6" fmla="*/ 301 w 884"/>
                <a:gd name="T7" fmla="*/ 57 h 1314"/>
                <a:gd name="T8" fmla="*/ 476 w 884"/>
                <a:gd name="T9" fmla="*/ 1 h 1314"/>
                <a:gd name="T10" fmla="*/ 586 w 884"/>
                <a:gd name="T11" fmla="*/ 20 h 1314"/>
                <a:gd name="T12" fmla="*/ 612 w 884"/>
                <a:gd name="T13" fmla="*/ 33 h 1314"/>
                <a:gd name="T14" fmla="*/ 788 w 884"/>
                <a:gd name="T15" fmla="*/ 69 h 1314"/>
                <a:gd name="T16" fmla="*/ 860 w 884"/>
                <a:gd name="T17" fmla="*/ 158 h 1314"/>
                <a:gd name="T18" fmla="*/ 880 w 884"/>
                <a:gd name="T19" fmla="*/ 255 h 1314"/>
                <a:gd name="T20" fmla="*/ 870 w 884"/>
                <a:gd name="T21" fmla="*/ 402 h 1314"/>
                <a:gd name="T22" fmla="*/ 814 w 884"/>
                <a:gd name="T23" fmla="*/ 561 h 1314"/>
                <a:gd name="T24" fmla="*/ 808 w 884"/>
                <a:gd name="T25" fmla="*/ 579 h 1314"/>
                <a:gd name="T26" fmla="*/ 624 w 884"/>
                <a:gd name="T27" fmla="*/ 751 h 1314"/>
                <a:gd name="T28" fmla="*/ 606 w 884"/>
                <a:gd name="T29" fmla="*/ 981 h 1314"/>
                <a:gd name="T30" fmla="*/ 615 w 884"/>
                <a:gd name="T31" fmla="*/ 1037 h 1314"/>
                <a:gd name="T32" fmla="*/ 684 w 884"/>
                <a:gd name="T33" fmla="*/ 1240 h 1314"/>
                <a:gd name="T34" fmla="*/ 706 w 884"/>
                <a:gd name="T35" fmla="*/ 1307 h 1314"/>
                <a:gd name="T36" fmla="*/ 540 w 884"/>
                <a:gd name="T37" fmla="*/ 1314 h 1314"/>
                <a:gd name="T38" fmla="*/ 162 w 884"/>
                <a:gd name="T39" fmla="*/ 1275 h 1314"/>
                <a:gd name="T40" fmla="*/ 0 w 884"/>
                <a:gd name="T41" fmla="*/ 1147 h 1314"/>
                <a:gd name="T42" fmla="*/ 24 w 884"/>
                <a:gd name="T43" fmla="*/ 1023 h 1314"/>
                <a:gd name="T44" fmla="*/ 91 w 884"/>
                <a:gd name="T45" fmla="*/ 923 h 1314"/>
                <a:gd name="T46" fmla="*/ 245 w 884"/>
                <a:gd name="T47" fmla="*/ 853 h 1314"/>
                <a:gd name="T48" fmla="*/ 317 w 884"/>
                <a:gd name="T49" fmla="*/ 823 h 1314"/>
                <a:gd name="T50" fmla="*/ 320 w 884"/>
                <a:gd name="T51" fmla="*/ 822 h 1314"/>
                <a:gd name="T52" fmla="*/ 342 w 884"/>
                <a:gd name="T53" fmla="*/ 781 h 1314"/>
                <a:gd name="T54" fmla="*/ 349 w 884"/>
                <a:gd name="T55" fmla="*/ 724 h 1314"/>
                <a:gd name="T56" fmla="*/ 304 w 884"/>
                <a:gd name="T57" fmla="*/ 655 h 1314"/>
                <a:gd name="T58" fmla="*/ 265 w 884"/>
                <a:gd name="T59" fmla="*/ 561 h 1314"/>
                <a:gd name="T60" fmla="*/ 209 w 884"/>
                <a:gd name="T61" fmla="*/ 402 h 1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84" h="1314">
                  <a:moveTo>
                    <a:pt x="209" y="402"/>
                  </a:moveTo>
                  <a:cubicBezTo>
                    <a:pt x="200" y="257"/>
                    <a:pt x="200" y="257"/>
                    <a:pt x="200" y="257"/>
                  </a:cubicBezTo>
                  <a:cubicBezTo>
                    <a:pt x="199" y="243"/>
                    <a:pt x="200" y="226"/>
                    <a:pt x="202" y="212"/>
                  </a:cubicBezTo>
                  <a:cubicBezTo>
                    <a:pt x="213" y="146"/>
                    <a:pt x="250" y="93"/>
                    <a:pt x="301" y="57"/>
                  </a:cubicBezTo>
                  <a:cubicBezTo>
                    <a:pt x="350" y="22"/>
                    <a:pt x="412" y="2"/>
                    <a:pt x="476" y="1"/>
                  </a:cubicBezTo>
                  <a:cubicBezTo>
                    <a:pt x="512" y="0"/>
                    <a:pt x="552" y="5"/>
                    <a:pt x="586" y="20"/>
                  </a:cubicBezTo>
                  <a:cubicBezTo>
                    <a:pt x="595" y="24"/>
                    <a:pt x="604" y="28"/>
                    <a:pt x="612" y="33"/>
                  </a:cubicBezTo>
                  <a:cubicBezTo>
                    <a:pt x="673" y="13"/>
                    <a:pt x="738" y="31"/>
                    <a:pt x="788" y="69"/>
                  </a:cubicBezTo>
                  <a:cubicBezTo>
                    <a:pt x="818" y="93"/>
                    <a:pt x="844" y="124"/>
                    <a:pt x="860" y="158"/>
                  </a:cubicBezTo>
                  <a:cubicBezTo>
                    <a:pt x="875" y="189"/>
                    <a:pt x="882" y="222"/>
                    <a:pt x="880" y="255"/>
                  </a:cubicBezTo>
                  <a:cubicBezTo>
                    <a:pt x="870" y="402"/>
                    <a:pt x="870" y="402"/>
                    <a:pt x="870" y="402"/>
                  </a:cubicBezTo>
                  <a:cubicBezTo>
                    <a:pt x="884" y="460"/>
                    <a:pt x="864" y="526"/>
                    <a:pt x="814" y="561"/>
                  </a:cubicBezTo>
                  <a:cubicBezTo>
                    <a:pt x="812" y="567"/>
                    <a:pt x="810" y="573"/>
                    <a:pt x="808" y="579"/>
                  </a:cubicBezTo>
                  <a:cubicBezTo>
                    <a:pt x="712" y="609"/>
                    <a:pt x="655" y="672"/>
                    <a:pt x="624" y="751"/>
                  </a:cubicBezTo>
                  <a:cubicBezTo>
                    <a:pt x="596" y="823"/>
                    <a:pt x="594" y="904"/>
                    <a:pt x="606" y="981"/>
                  </a:cubicBezTo>
                  <a:cubicBezTo>
                    <a:pt x="608" y="1001"/>
                    <a:pt x="612" y="1019"/>
                    <a:pt x="615" y="1037"/>
                  </a:cubicBezTo>
                  <a:cubicBezTo>
                    <a:pt x="606" y="1111"/>
                    <a:pt x="630" y="1189"/>
                    <a:pt x="684" y="1240"/>
                  </a:cubicBezTo>
                  <a:cubicBezTo>
                    <a:pt x="690" y="1262"/>
                    <a:pt x="697" y="1285"/>
                    <a:pt x="706" y="1307"/>
                  </a:cubicBezTo>
                  <a:cubicBezTo>
                    <a:pt x="644" y="1312"/>
                    <a:pt x="584" y="1314"/>
                    <a:pt x="540" y="1314"/>
                  </a:cubicBezTo>
                  <a:cubicBezTo>
                    <a:pt x="443" y="1314"/>
                    <a:pt x="280" y="1305"/>
                    <a:pt x="162" y="1275"/>
                  </a:cubicBezTo>
                  <a:cubicBezTo>
                    <a:pt x="68" y="1251"/>
                    <a:pt x="0" y="1211"/>
                    <a:pt x="0" y="1147"/>
                  </a:cubicBezTo>
                  <a:cubicBezTo>
                    <a:pt x="0" y="1106"/>
                    <a:pt x="8" y="1063"/>
                    <a:pt x="24" y="1023"/>
                  </a:cubicBezTo>
                  <a:cubicBezTo>
                    <a:pt x="39" y="986"/>
                    <a:pt x="62" y="951"/>
                    <a:pt x="91" y="923"/>
                  </a:cubicBezTo>
                  <a:cubicBezTo>
                    <a:pt x="125" y="890"/>
                    <a:pt x="196" y="867"/>
                    <a:pt x="245" y="853"/>
                  </a:cubicBezTo>
                  <a:cubicBezTo>
                    <a:pt x="270" y="846"/>
                    <a:pt x="291" y="839"/>
                    <a:pt x="317" y="823"/>
                  </a:cubicBezTo>
                  <a:cubicBezTo>
                    <a:pt x="318" y="823"/>
                    <a:pt x="319" y="822"/>
                    <a:pt x="320" y="822"/>
                  </a:cubicBezTo>
                  <a:cubicBezTo>
                    <a:pt x="331" y="816"/>
                    <a:pt x="344" y="793"/>
                    <a:pt x="342" y="781"/>
                  </a:cubicBezTo>
                  <a:cubicBezTo>
                    <a:pt x="347" y="763"/>
                    <a:pt x="349" y="742"/>
                    <a:pt x="349" y="724"/>
                  </a:cubicBezTo>
                  <a:cubicBezTo>
                    <a:pt x="333" y="705"/>
                    <a:pt x="318" y="681"/>
                    <a:pt x="304" y="655"/>
                  </a:cubicBezTo>
                  <a:cubicBezTo>
                    <a:pt x="288" y="623"/>
                    <a:pt x="274" y="589"/>
                    <a:pt x="265" y="561"/>
                  </a:cubicBezTo>
                  <a:cubicBezTo>
                    <a:pt x="215" y="526"/>
                    <a:pt x="195" y="460"/>
                    <a:pt x="209" y="4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4"/>
            <p:cNvSpPr>
              <a:spLocks/>
            </p:cNvSpPr>
            <p:nvPr/>
          </p:nvSpPr>
          <p:spPr bwMode="auto">
            <a:xfrm>
              <a:off x="5613183" y="843558"/>
              <a:ext cx="122447" cy="179996"/>
            </a:xfrm>
            <a:custGeom>
              <a:avLst/>
              <a:gdLst>
                <a:gd name="T0" fmla="*/ 189 w 895"/>
                <a:gd name="T1" fmla="*/ 18 h 1316"/>
                <a:gd name="T2" fmla="*/ 281 w 895"/>
                <a:gd name="T3" fmla="*/ 10 h 1316"/>
                <a:gd name="T4" fmla="*/ 355 w 895"/>
                <a:gd name="T5" fmla="*/ 29 h 1316"/>
                <a:gd name="T6" fmla="*/ 428 w 895"/>
                <a:gd name="T7" fmla="*/ 10 h 1316"/>
                <a:gd name="T8" fmla="*/ 650 w 895"/>
                <a:gd name="T9" fmla="*/ 115 h 1316"/>
                <a:gd name="T10" fmla="*/ 694 w 895"/>
                <a:gd name="T11" fmla="*/ 273 h 1316"/>
                <a:gd name="T12" fmla="*/ 709 w 895"/>
                <a:gd name="T13" fmla="*/ 531 h 1316"/>
                <a:gd name="T14" fmla="*/ 761 w 895"/>
                <a:gd name="T15" fmla="*/ 687 h 1316"/>
                <a:gd name="T16" fmla="*/ 779 w 895"/>
                <a:gd name="T17" fmla="*/ 710 h 1316"/>
                <a:gd name="T18" fmla="*/ 635 w 895"/>
                <a:gd name="T19" fmla="*/ 815 h 1316"/>
                <a:gd name="T20" fmla="*/ 573 w 895"/>
                <a:gd name="T21" fmla="*/ 823 h 1316"/>
                <a:gd name="T22" fmla="*/ 649 w 895"/>
                <a:gd name="T23" fmla="*/ 855 h 1316"/>
                <a:gd name="T24" fmla="*/ 803 w 895"/>
                <a:gd name="T25" fmla="*/ 925 h 1316"/>
                <a:gd name="T26" fmla="*/ 870 w 895"/>
                <a:gd name="T27" fmla="*/ 1026 h 1316"/>
                <a:gd name="T28" fmla="*/ 895 w 895"/>
                <a:gd name="T29" fmla="*/ 1149 h 1316"/>
                <a:gd name="T30" fmla="*/ 732 w 895"/>
                <a:gd name="T31" fmla="*/ 1277 h 1316"/>
                <a:gd name="T32" fmla="*/ 355 w 895"/>
                <a:gd name="T33" fmla="*/ 1316 h 1316"/>
                <a:gd name="T34" fmla="*/ 188 w 895"/>
                <a:gd name="T35" fmla="*/ 1309 h 1316"/>
                <a:gd name="T36" fmla="*/ 210 w 895"/>
                <a:gd name="T37" fmla="*/ 1242 h 1316"/>
                <a:gd name="T38" fmla="*/ 279 w 895"/>
                <a:gd name="T39" fmla="*/ 1039 h 1316"/>
                <a:gd name="T40" fmla="*/ 283 w 895"/>
                <a:gd name="T41" fmla="*/ 824 h 1316"/>
                <a:gd name="T42" fmla="*/ 173 w 895"/>
                <a:gd name="T43" fmla="*/ 627 h 1316"/>
                <a:gd name="T44" fmla="*/ 0 w 895"/>
                <a:gd name="T45" fmla="*/ 535 h 1316"/>
                <a:gd name="T46" fmla="*/ 1 w 895"/>
                <a:gd name="T47" fmla="*/ 531 h 1316"/>
                <a:gd name="T48" fmla="*/ 15 w 895"/>
                <a:gd name="T49" fmla="*/ 273 h 1316"/>
                <a:gd name="T50" fmla="*/ 59 w 895"/>
                <a:gd name="T51" fmla="*/ 115 h 1316"/>
                <a:gd name="T52" fmla="*/ 189 w 895"/>
                <a:gd name="T53" fmla="*/ 18 h 1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95" h="1316">
                  <a:moveTo>
                    <a:pt x="189" y="18"/>
                  </a:moveTo>
                  <a:cubicBezTo>
                    <a:pt x="219" y="9"/>
                    <a:pt x="251" y="7"/>
                    <a:pt x="281" y="10"/>
                  </a:cubicBezTo>
                  <a:cubicBezTo>
                    <a:pt x="306" y="12"/>
                    <a:pt x="331" y="19"/>
                    <a:pt x="355" y="29"/>
                  </a:cubicBezTo>
                  <a:cubicBezTo>
                    <a:pt x="379" y="19"/>
                    <a:pt x="403" y="12"/>
                    <a:pt x="428" y="10"/>
                  </a:cubicBezTo>
                  <a:cubicBezTo>
                    <a:pt x="519" y="0"/>
                    <a:pt x="599" y="39"/>
                    <a:pt x="650" y="115"/>
                  </a:cubicBezTo>
                  <a:cubicBezTo>
                    <a:pt x="682" y="161"/>
                    <a:pt x="699" y="218"/>
                    <a:pt x="694" y="273"/>
                  </a:cubicBezTo>
                  <a:cubicBezTo>
                    <a:pt x="690" y="317"/>
                    <a:pt x="691" y="429"/>
                    <a:pt x="709" y="531"/>
                  </a:cubicBezTo>
                  <a:cubicBezTo>
                    <a:pt x="719" y="595"/>
                    <a:pt x="736" y="654"/>
                    <a:pt x="761" y="687"/>
                  </a:cubicBezTo>
                  <a:cubicBezTo>
                    <a:pt x="779" y="710"/>
                    <a:pt x="779" y="710"/>
                    <a:pt x="779" y="710"/>
                  </a:cubicBezTo>
                  <a:cubicBezTo>
                    <a:pt x="738" y="769"/>
                    <a:pt x="709" y="798"/>
                    <a:pt x="635" y="815"/>
                  </a:cubicBezTo>
                  <a:cubicBezTo>
                    <a:pt x="615" y="819"/>
                    <a:pt x="593" y="822"/>
                    <a:pt x="573" y="823"/>
                  </a:cubicBezTo>
                  <a:cubicBezTo>
                    <a:pt x="600" y="839"/>
                    <a:pt x="620" y="846"/>
                    <a:pt x="649" y="855"/>
                  </a:cubicBezTo>
                  <a:cubicBezTo>
                    <a:pt x="698" y="869"/>
                    <a:pt x="769" y="892"/>
                    <a:pt x="803" y="925"/>
                  </a:cubicBezTo>
                  <a:cubicBezTo>
                    <a:pt x="833" y="953"/>
                    <a:pt x="855" y="988"/>
                    <a:pt x="870" y="1026"/>
                  </a:cubicBezTo>
                  <a:cubicBezTo>
                    <a:pt x="887" y="1065"/>
                    <a:pt x="895" y="1108"/>
                    <a:pt x="895" y="1149"/>
                  </a:cubicBezTo>
                  <a:cubicBezTo>
                    <a:pt x="895" y="1213"/>
                    <a:pt x="826" y="1253"/>
                    <a:pt x="732" y="1277"/>
                  </a:cubicBezTo>
                  <a:cubicBezTo>
                    <a:pt x="615" y="1307"/>
                    <a:pt x="451" y="1316"/>
                    <a:pt x="355" y="1316"/>
                  </a:cubicBezTo>
                  <a:cubicBezTo>
                    <a:pt x="310" y="1316"/>
                    <a:pt x="251" y="1314"/>
                    <a:pt x="188" y="1309"/>
                  </a:cubicBezTo>
                  <a:cubicBezTo>
                    <a:pt x="197" y="1287"/>
                    <a:pt x="204" y="1264"/>
                    <a:pt x="210" y="1242"/>
                  </a:cubicBezTo>
                  <a:cubicBezTo>
                    <a:pt x="265" y="1190"/>
                    <a:pt x="289" y="1113"/>
                    <a:pt x="279" y="1039"/>
                  </a:cubicBezTo>
                  <a:cubicBezTo>
                    <a:pt x="296" y="959"/>
                    <a:pt x="297" y="888"/>
                    <a:pt x="283" y="824"/>
                  </a:cubicBezTo>
                  <a:cubicBezTo>
                    <a:pt x="265" y="747"/>
                    <a:pt x="228" y="682"/>
                    <a:pt x="173" y="627"/>
                  </a:cubicBezTo>
                  <a:cubicBezTo>
                    <a:pt x="128" y="583"/>
                    <a:pt x="66" y="553"/>
                    <a:pt x="0" y="535"/>
                  </a:cubicBezTo>
                  <a:cubicBezTo>
                    <a:pt x="1" y="531"/>
                    <a:pt x="1" y="531"/>
                    <a:pt x="1" y="531"/>
                  </a:cubicBezTo>
                  <a:cubicBezTo>
                    <a:pt x="18" y="429"/>
                    <a:pt x="19" y="317"/>
                    <a:pt x="15" y="273"/>
                  </a:cubicBezTo>
                  <a:cubicBezTo>
                    <a:pt x="10" y="218"/>
                    <a:pt x="27" y="161"/>
                    <a:pt x="59" y="115"/>
                  </a:cubicBezTo>
                  <a:cubicBezTo>
                    <a:pt x="90" y="69"/>
                    <a:pt x="136" y="33"/>
                    <a:pt x="18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 25"/>
            <p:cNvSpPr>
              <a:spLocks/>
            </p:cNvSpPr>
            <p:nvPr/>
          </p:nvSpPr>
          <p:spPr bwMode="auto">
            <a:xfrm>
              <a:off x="5516788" y="924553"/>
              <a:ext cx="153190" cy="186480"/>
            </a:xfrm>
            <a:custGeom>
              <a:avLst/>
              <a:gdLst>
                <a:gd name="T0" fmla="*/ 952 w 1120"/>
                <a:gd name="T1" fmla="*/ 1323 h 1364"/>
                <a:gd name="T2" fmla="*/ 560 w 1120"/>
                <a:gd name="T3" fmla="*/ 1364 h 1364"/>
                <a:gd name="T4" fmla="*/ 168 w 1120"/>
                <a:gd name="T5" fmla="*/ 1323 h 1364"/>
                <a:gd name="T6" fmla="*/ 0 w 1120"/>
                <a:gd name="T7" fmla="*/ 1191 h 1364"/>
                <a:gd name="T8" fmla="*/ 25 w 1120"/>
                <a:gd name="T9" fmla="*/ 1064 h 1364"/>
                <a:gd name="T10" fmla="*/ 94 w 1120"/>
                <a:gd name="T11" fmla="*/ 959 h 1364"/>
                <a:gd name="T12" fmla="*/ 205 w 1120"/>
                <a:gd name="T13" fmla="*/ 902 h 1364"/>
                <a:gd name="T14" fmla="*/ 253 w 1120"/>
                <a:gd name="T15" fmla="*/ 887 h 1364"/>
                <a:gd name="T16" fmla="*/ 329 w 1120"/>
                <a:gd name="T17" fmla="*/ 856 h 1364"/>
                <a:gd name="T18" fmla="*/ 340 w 1120"/>
                <a:gd name="T19" fmla="*/ 773 h 1364"/>
                <a:gd name="T20" fmla="*/ 338 w 1120"/>
                <a:gd name="T21" fmla="*/ 751 h 1364"/>
                <a:gd name="T22" fmla="*/ 275 w 1120"/>
                <a:gd name="T23" fmla="*/ 605 h 1364"/>
                <a:gd name="T24" fmla="*/ 217 w 1120"/>
                <a:gd name="T25" fmla="*/ 445 h 1364"/>
                <a:gd name="T26" fmla="*/ 204 w 1120"/>
                <a:gd name="T27" fmla="*/ 380 h 1364"/>
                <a:gd name="T28" fmla="*/ 218 w 1120"/>
                <a:gd name="T29" fmla="*/ 190 h 1364"/>
                <a:gd name="T30" fmla="*/ 386 w 1120"/>
                <a:gd name="T31" fmla="*/ 57 h 1364"/>
                <a:gd name="T32" fmla="*/ 598 w 1120"/>
                <a:gd name="T33" fmla="*/ 5 h 1364"/>
                <a:gd name="T34" fmla="*/ 822 w 1120"/>
                <a:gd name="T35" fmla="*/ 92 h 1364"/>
                <a:gd name="T36" fmla="*/ 909 w 1120"/>
                <a:gd name="T37" fmla="*/ 249 h 1364"/>
                <a:gd name="T38" fmla="*/ 902 w 1120"/>
                <a:gd name="T39" fmla="*/ 445 h 1364"/>
                <a:gd name="T40" fmla="*/ 844 w 1120"/>
                <a:gd name="T41" fmla="*/ 605 h 1364"/>
                <a:gd name="T42" fmla="*/ 781 w 1120"/>
                <a:gd name="T43" fmla="*/ 751 h 1364"/>
                <a:gd name="T44" fmla="*/ 780 w 1120"/>
                <a:gd name="T45" fmla="*/ 778 h 1364"/>
                <a:gd name="T46" fmla="*/ 787 w 1120"/>
                <a:gd name="T47" fmla="*/ 854 h 1364"/>
                <a:gd name="T48" fmla="*/ 866 w 1120"/>
                <a:gd name="T49" fmla="*/ 887 h 1364"/>
                <a:gd name="T50" fmla="*/ 1025 w 1120"/>
                <a:gd name="T51" fmla="*/ 959 h 1364"/>
                <a:gd name="T52" fmla="*/ 1094 w 1120"/>
                <a:gd name="T53" fmla="*/ 1064 h 1364"/>
                <a:gd name="T54" fmla="*/ 1120 w 1120"/>
                <a:gd name="T55" fmla="*/ 1191 h 1364"/>
                <a:gd name="T56" fmla="*/ 952 w 1120"/>
                <a:gd name="T57" fmla="*/ 1323 h 1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20" h="1364">
                  <a:moveTo>
                    <a:pt x="952" y="1323"/>
                  </a:moveTo>
                  <a:cubicBezTo>
                    <a:pt x="829" y="1354"/>
                    <a:pt x="660" y="1364"/>
                    <a:pt x="560" y="1364"/>
                  </a:cubicBezTo>
                  <a:cubicBezTo>
                    <a:pt x="460" y="1364"/>
                    <a:pt x="290" y="1354"/>
                    <a:pt x="168" y="1323"/>
                  </a:cubicBezTo>
                  <a:cubicBezTo>
                    <a:pt x="70" y="1298"/>
                    <a:pt x="0" y="1257"/>
                    <a:pt x="0" y="1191"/>
                  </a:cubicBezTo>
                  <a:cubicBezTo>
                    <a:pt x="0" y="1149"/>
                    <a:pt x="8" y="1105"/>
                    <a:pt x="25" y="1064"/>
                  </a:cubicBezTo>
                  <a:cubicBezTo>
                    <a:pt x="40" y="1025"/>
                    <a:pt x="64" y="989"/>
                    <a:pt x="94" y="959"/>
                  </a:cubicBezTo>
                  <a:cubicBezTo>
                    <a:pt x="124" y="931"/>
                    <a:pt x="167" y="916"/>
                    <a:pt x="205" y="902"/>
                  </a:cubicBezTo>
                  <a:cubicBezTo>
                    <a:pt x="224" y="895"/>
                    <a:pt x="239" y="891"/>
                    <a:pt x="253" y="887"/>
                  </a:cubicBezTo>
                  <a:cubicBezTo>
                    <a:pt x="279" y="879"/>
                    <a:pt x="302" y="873"/>
                    <a:pt x="329" y="856"/>
                  </a:cubicBezTo>
                  <a:cubicBezTo>
                    <a:pt x="344" y="846"/>
                    <a:pt x="341" y="789"/>
                    <a:pt x="340" y="773"/>
                  </a:cubicBezTo>
                  <a:cubicBezTo>
                    <a:pt x="339" y="765"/>
                    <a:pt x="338" y="758"/>
                    <a:pt x="338" y="751"/>
                  </a:cubicBezTo>
                  <a:cubicBezTo>
                    <a:pt x="302" y="709"/>
                    <a:pt x="288" y="656"/>
                    <a:pt x="275" y="605"/>
                  </a:cubicBezTo>
                  <a:cubicBezTo>
                    <a:pt x="224" y="570"/>
                    <a:pt x="204" y="503"/>
                    <a:pt x="217" y="445"/>
                  </a:cubicBezTo>
                  <a:cubicBezTo>
                    <a:pt x="212" y="424"/>
                    <a:pt x="208" y="402"/>
                    <a:pt x="204" y="380"/>
                  </a:cubicBezTo>
                  <a:cubicBezTo>
                    <a:pt x="195" y="315"/>
                    <a:pt x="196" y="247"/>
                    <a:pt x="218" y="190"/>
                  </a:cubicBezTo>
                  <a:cubicBezTo>
                    <a:pt x="248" y="114"/>
                    <a:pt x="307" y="71"/>
                    <a:pt x="386" y="57"/>
                  </a:cubicBezTo>
                  <a:cubicBezTo>
                    <a:pt x="435" y="17"/>
                    <a:pt x="516" y="0"/>
                    <a:pt x="598" y="5"/>
                  </a:cubicBezTo>
                  <a:cubicBezTo>
                    <a:pt x="682" y="11"/>
                    <a:pt x="769" y="40"/>
                    <a:pt x="822" y="92"/>
                  </a:cubicBezTo>
                  <a:cubicBezTo>
                    <a:pt x="866" y="136"/>
                    <a:pt x="896" y="187"/>
                    <a:pt x="909" y="249"/>
                  </a:cubicBezTo>
                  <a:cubicBezTo>
                    <a:pt x="922" y="305"/>
                    <a:pt x="920" y="370"/>
                    <a:pt x="902" y="445"/>
                  </a:cubicBezTo>
                  <a:cubicBezTo>
                    <a:pt x="915" y="503"/>
                    <a:pt x="895" y="570"/>
                    <a:pt x="844" y="605"/>
                  </a:cubicBezTo>
                  <a:cubicBezTo>
                    <a:pt x="831" y="657"/>
                    <a:pt x="817" y="709"/>
                    <a:pt x="781" y="751"/>
                  </a:cubicBezTo>
                  <a:cubicBezTo>
                    <a:pt x="781" y="760"/>
                    <a:pt x="780" y="769"/>
                    <a:pt x="780" y="778"/>
                  </a:cubicBezTo>
                  <a:cubicBezTo>
                    <a:pt x="777" y="810"/>
                    <a:pt x="774" y="847"/>
                    <a:pt x="787" y="854"/>
                  </a:cubicBezTo>
                  <a:cubicBezTo>
                    <a:pt x="813" y="870"/>
                    <a:pt x="837" y="878"/>
                    <a:pt x="866" y="887"/>
                  </a:cubicBezTo>
                  <a:cubicBezTo>
                    <a:pt x="916" y="901"/>
                    <a:pt x="990" y="925"/>
                    <a:pt x="1025" y="959"/>
                  </a:cubicBezTo>
                  <a:cubicBezTo>
                    <a:pt x="1056" y="989"/>
                    <a:pt x="1079" y="1025"/>
                    <a:pt x="1094" y="1064"/>
                  </a:cubicBezTo>
                  <a:cubicBezTo>
                    <a:pt x="1111" y="1105"/>
                    <a:pt x="1120" y="1149"/>
                    <a:pt x="1120" y="1191"/>
                  </a:cubicBezTo>
                  <a:cubicBezTo>
                    <a:pt x="1120" y="1257"/>
                    <a:pt x="1049" y="1298"/>
                    <a:pt x="952" y="13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noProof="1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6" name="Group 52"/>
          <p:cNvGrpSpPr>
            <a:grpSpLocks noChangeAspect="1"/>
          </p:cNvGrpSpPr>
          <p:nvPr/>
        </p:nvGrpSpPr>
        <p:grpSpPr bwMode="auto">
          <a:xfrm>
            <a:off x="928545" y="2840628"/>
            <a:ext cx="669951" cy="669240"/>
            <a:chOff x="2406" y="1719"/>
            <a:chExt cx="945" cy="944"/>
          </a:xfrm>
          <a:solidFill>
            <a:srgbClr val="A2AD00"/>
          </a:solidFill>
        </p:grpSpPr>
        <p:sp>
          <p:nvSpPr>
            <p:cNvPr id="67" name="Freeform 53"/>
            <p:cNvSpPr>
              <a:spLocks noEditPoints="1"/>
            </p:cNvSpPr>
            <p:nvPr/>
          </p:nvSpPr>
          <p:spPr bwMode="auto">
            <a:xfrm>
              <a:off x="2406" y="1870"/>
              <a:ext cx="945" cy="793"/>
            </a:xfrm>
            <a:custGeom>
              <a:avLst/>
              <a:gdLst>
                <a:gd name="T0" fmla="*/ 312 w 400"/>
                <a:gd name="T1" fmla="*/ 0 h 336"/>
                <a:gd name="T2" fmla="*/ 296 w 400"/>
                <a:gd name="T3" fmla="*/ 56 h 336"/>
                <a:gd name="T4" fmla="*/ 276 w 400"/>
                <a:gd name="T5" fmla="*/ 39 h 336"/>
                <a:gd name="T6" fmla="*/ 132 w 400"/>
                <a:gd name="T7" fmla="*/ 0 h 336"/>
                <a:gd name="T8" fmla="*/ 117 w 400"/>
                <a:gd name="T9" fmla="*/ 56 h 336"/>
                <a:gd name="T10" fmla="*/ 96 w 400"/>
                <a:gd name="T11" fmla="*/ 39 h 336"/>
                <a:gd name="T12" fmla="*/ 73 w 400"/>
                <a:gd name="T13" fmla="*/ 0 h 336"/>
                <a:gd name="T14" fmla="*/ 0 w 400"/>
                <a:gd name="T15" fmla="*/ 265 h 336"/>
                <a:gd name="T16" fmla="*/ 330 w 400"/>
                <a:gd name="T17" fmla="*/ 336 h 336"/>
                <a:gd name="T18" fmla="*/ 400 w 400"/>
                <a:gd name="T19" fmla="*/ 71 h 336"/>
                <a:gd name="T20" fmla="*/ 152 w 400"/>
                <a:gd name="T21" fmla="*/ 168 h 336"/>
                <a:gd name="T22" fmla="*/ 252 w 400"/>
                <a:gd name="T23" fmla="*/ 224 h 336"/>
                <a:gd name="T24" fmla="*/ 152 w 400"/>
                <a:gd name="T25" fmla="*/ 168 h 336"/>
                <a:gd name="T26" fmla="*/ 252 w 400"/>
                <a:gd name="T27" fmla="*/ 300 h 336"/>
                <a:gd name="T28" fmla="*/ 152 w 400"/>
                <a:gd name="T29" fmla="*/ 244 h 336"/>
                <a:gd name="T30" fmla="*/ 152 w 400"/>
                <a:gd name="T31" fmla="*/ 148 h 336"/>
                <a:gd name="T32" fmla="*/ 252 w 400"/>
                <a:gd name="T33" fmla="*/ 92 h 336"/>
                <a:gd name="T34" fmla="*/ 152 w 400"/>
                <a:gd name="T35" fmla="*/ 148 h 336"/>
                <a:gd name="T36" fmla="*/ 132 w 400"/>
                <a:gd name="T37" fmla="*/ 92 h 336"/>
                <a:gd name="T38" fmla="*/ 40 w 400"/>
                <a:gd name="T39" fmla="*/ 148 h 336"/>
                <a:gd name="T40" fmla="*/ 40 w 400"/>
                <a:gd name="T41" fmla="*/ 168 h 336"/>
                <a:gd name="T42" fmla="*/ 132 w 400"/>
                <a:gd name="T43" fmla="*/ 224 h 336"/>
                <a:gd name="T44" fmla="*/ 40 w 400"/>
                <a:gd name="T45" fmla="*/ 168 h 336"/>
                <a:gd name="T46" fmla="*/ 40 w 400"/>
                <a:gd name="T47" fmla="*/ 244 h 336"/>
                <a:gd name="T48" fmla="*/ 132 w 400"/>
                <a:gd name="T49" fmla="*/ 300 h 336"/>
                <a:gd name="T50" fmla="*/ 40 w 400"/>
                <a:gd name="T51" fmla="*/ 267 h 336"/>
                <a:gd name="T52" fmla="*/ 332 w 400"/>
                <a:gd name="T53" fmla="*/ 300 h 336"/>
                <a:gd name="T54" fmla="*/ 272 w 400"/>
                <a:gd name="T55" fmla="*/ 244 h 336"/>
                <a:gd name="T56" fmla="*/ 364 w 400"/>
                <a:gd name="T57" fmla="*/ 267 h 336"/>
                <a:gd name="T58" fmla="*/ 272 w 400"/>
                <a:gd name="T59" fmla="*/ 224 h 336"/>
                <a:gd name="T60" fmla="*/ 364 w 400"/>
                <a:gd name="T61" fmla="*/ 168 h 336"/>
                <a:gd name="T62" fmla="*/ 364 w 400"/>
                <a:gd name="T63" fmla="*/ 148 h 336"/>
                <a:gd name="T64" fmla="*/ 272 w 400"/>
                <a:gd name="T65" fmla="*/ 92 h 336"/>
                <a:gd name="T66" fmla="*/ 364 w 400"/>
                <a:gd name="T67" fmla="*/ 148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0" h="336">
                  <a:moveTo>
                    <a:pt x="330" y="0"/>
                  </a:moveTo>
                  <a:cubicBezTo>
                    <a:pt x="312" y="0"/>
                    <a:pt x="312" y="0"/>
                    <a:pt x="312" y="0"/>
                  </a:cubicBezTo>
                  <a:cubicBezTo>
                    <a:pt x="312" y="39"/>
                    <a:pt x="312" y="39"/>
                    <a:pt x="312" y="39"/>
                  </a:cubicBezTo>
                  <a:cubicBezTo>
                    <a:pt x="312" y="48"/>
                    <a:pt x="305" y="56"/>
                    <a:pt x="296" y="56"/>
                  </a:cubicBezTo>
                  <a:cubicBezTo>
                    <a:pt x="292" y="56"/>
                    <a:pt x="292" y="56"/>
                    <a:pt x="292" y="56"/>
                  </a:cubicBezTo>
                  <a:cubicBezTo>
                    <a:pt x="283" y="56"/>
                    <a:pt x="276" y="48"/>
                    <a:pt x="276" y="39"/>
                  </a:cubicBezTo>
                  <a:cubicBezTo>
                    <a:pt x="276" y="0"/>
                    <a:pt x="276" y="0"/>
                    <a:pt x="276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132" y="48"/>
                    <a:pt x="126" y="56"/>
                    <a:pt x="117" y="56"/>
                  </a:cubicBezTo>
                  <a:cubicBezTo>
                    <a:pt x="113" y="56"/>
                    <a:pt x="113" y="56"/>
                    <a:pt x="113" y="56"/>
                  </a:cubicBezTo>
                  <a:cubicBezTo>
                    <a:pt x="104" y="56"/>
                    <a:pt x="96" y="48"/>
                    <a:pt x="96" y="39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33" y="0"/>
                    <a:pt x="0" y="32"/>
                    <a:pt x="0" y="71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0" y="304"/>
                    <a:pt x="33" y="336"/>
                    <a:pt x="73" y="336"/>
                  </a:cubicBezTo>
                  <a:cubicBezTo>
                    <a:pt x="330" y="336"/>
                    <a:pt x="330" y="336"/>
                    <a:pt x="330" y="336"/>
                  </a:cubicBezTo>
                  <a:cubicBezTo>
                    <a:pt x="370" y="336"/>
                    <a:pt x="400" y="304"/>
                    <a:pt x="400" y="265"/>
                  </a:cubicBezTo>
                  <a:cubicBezTo>
                    <a:pt x="400" y="71"/>
                    <a:pt x="400" y="71"/>
                    <a:pt x="400" y="71"/>
                  </a:cubicBezTo>
                  <a:cubicBezTo>
                    <a:pt x="400" y="32"/>
                    <a:pt x="370" y="0"/>
                    <a:pt x="330" y="0"/>
                  </a:cubicBezTo>
                  <a:close/>
                  <a:moveTo>
                    <a:pt x="152" y="168"/>
                  </a:moveTo>
                  <a:cubicBezTo>
                    <a:pt x="252" y="168"/>
                    <a:pt x="252" y="168"/>
                    <a:pt x="252" y="168"/>
                  </a:cubicBezTo>
                  <a:cubicBezTo>
                    <a:pt x="252" y="224"/>
                    <a:pt x="252" y="224"/>
                    <a:pt x="252" y="224"/>
                  </a:cubicBezTo>
                  <a:cubicBezTo>
                    <a:pt x="152" y="224"/>
                    <a:pt x="152" y="224"/>
                    <a:pt x="152" y="224"/>
                  </a:cubicBezTo>
                  <a:lnTo>
                    <a:pt x="152" y="168"/>
                  </a:lnTo>
                  <a:close/>
                  <a:moveTo>
                    <a:pt x="252" y="244"/>
                  </a:moveTo>
                  <a:cubicBezTo>
                    <a:pt x="252" y="300"/>
                    <a:pt x="252" y="300"/>
                    <a:pt x="252" y="300"/>
                  </a:cubicBezTo>
                  <a:cubicBezTo>
                    <a:pt x="152" y="300"/>
                    <a:pt x="152" y="300"/>
                    <a:pt x="152" y="300"/>
                  </a:cubicBezTo>
                  <a:cubicBezTo>
                    <a:pt x="152" y="244"/>
                    <a:pt x="152" y="244"/>
                    <a:pt x="152" y="244"/>
                  </a:cubicBezTo>
                  <a:lnTo>
                    <a:pt x="252" y="244"/>
                  </a:lnTo>
                  <a:close/>
                  <a:moveTo>
                    <a:pt x="152" y="148"/>
                  </a:moveTo>
                  <a:cubicBezTo>
                    <a:pt x="152" y="92"/>
                    <a:pt x="152" y="92"/>
                    <a:pt x="152" y="92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148"/>
                    <a:pt x="252" y="148"/>
                    <a:pt x="252" y="148"/>
                  </a:cubicBezTo>
                  <a:lnTo>
                    <a:pt x="152" y="148"/>
                  </a:lnTo>
                  <a:close/>
                  <a:moveTo>
                    <a:pt x="40" y="92"/>
                  </a:moveTo>
                  <a:cubicBezTo>
                    <a:pt x="132" y="92"/>
                    <a:pt x="132" y="92"/>
                    <a:pt x="132" y="92"/>
                  </a:cubicBezTo>
                  <a:cubicBezTo>
                    <a:pt x="132" y="148"/>
                    <a:pt x="132" y="148"/>
                    <a:pt x="132" y="148"/>
                  </a:cubicBezTo>
                  <a:cubicBezTo>
                    <a:pt x="40" y="148"/>
                    <a:pt x="40" y="148"/>
                    <a:pt x="40" y="148"/>
                  </a:cubicBezTo>
                  <a:lnTo>
                    <a:pt x="40" y="92"/>
                  </a:lnTo>
                  <a:close/>
                  <a:moveTo>
                    <a:pt x="40" y="168"/>
                  </a:moveTo>
                  <a:cubicBezTo>
                    <a:pt x="132" y="168"/>
                    <a:pt x="132" y="168"/>
                    <a:pt x="132" y="168"/>
                  </a:cubicBezTo>
                  <a:cubicBezTo>
                    <a:pt x="132" y="224"/>
                    <a:pt x="132" y="224"/>
                    <a:pt x="132" y="224"/>
                  </a:cubicBezTo>
                  <a:cubicBezTo>
                    <a:pt x="40" y="224"/>
                    <a:pt x="40" y="224"/>
                    <a:pt x="40" y="224"/>
                  </a:cubicBezTo>
                  <a:lnTo>
                    <a:pt x="40" y="168"/>
                  </a:lnTo>
                  <a:close/>
                  <a:moveTo>
                    <a:pt x="40" y="267"/>
                  </a:moveTo>
                  <a:cubicBezTo>
                    <a:pt x="40" y="244"/>
                    <a:pt x="40" y="244"/>
                    <a:pt x="40" y="244"/>
                  </a:cubicBezTo>
                  <a:cubicBezTo>
                    <a:pt x="132" y="244"/>
                    <a:pt x="132" y="244"/>
                    <a:pt x="132" y="244"/>
                  </a:cubicBezTo>
                  <a:cubicBezTo>
                    <a:pt x="132" y="300"/>
                    <a:pt x="132" y="300"/>
                    <a:pt x="132" y="300"/>
                  </a:cubicBezTo>
                  <a:cubicBezTo>
                    <a:pt x="74" y="300"/>
                    <a:pt x="74" y="300"/>
                    <a:pt x="74" y="300"/>
                  </a:cubicBezTo>
                  <a:cubicBezTo>
                    <a:pt x="55" y="300"/>
                    <a:pt x="40" y="285"/>
                    <a:pt x="40" y="267"/>
                  </a:cubicBezTo>
                  <a:close/>
                  <a:moveTo>
                    <a:pt x="364" y="267"/>
                  </a:moveTo>
                  <a:cubicBezTo>
                    <a:pt x="364" y="285"/>
                    <a:pt x="350" y="300"/>
                    <a:pt x="332" y="300"/>
                  </a:cubicBezTo>
                  <a:cubicBezTo>
                    <a:pt x="272" y="300"/>
                    <a:pt x="272" y="300"/>
                    <a:pt x="272" y="300"/>
                  </a:cubicBezTo>
                  <a:cubicBezTo>
                    <a:pt x="272" y="244"/>
                    <a:pt x="272" y="244"/>
                    <a:pt x="272" y="244"/>
                  </a:cubicBezTo>
                  <a:cubicBezTo>
                    <a:pt x="364" y="244"/>
                    <a:pt x="364" y="244"/>
                    <a:pt x="364" y="244"/>
                  </a:cubicBezTo>
                  <a:lnTo>
                    <a:pt x="364" y="267"/>
                  </a:lnTo>
                  <a:close/>
                  <a:moveTo>
                    <a:pt x="364" y="224"/>
                  </a:moveTo>
                  <a:cubicBezTo>
                    <a:pt x="272" y="224"/>
                    <a:pt x="272" y="224"/>
                    <a:pt x="272" y="224"/>
                  </a:cubicBezTo>
                  <a:cubicBezTo>
                    <a:pt x="272" y="168"/>
                    <a:pt x="272" y="168"/>
                    <a:pt x="272" y="168"/>
                  </a:cubicBezTo>
                  <a:cubicBezTo>
                    <a:pt x="364" y="168"/>
                    <a:pt x="364" y="168"/>
                    <a:pt x="364" y="168"/>
                  </a:cubicBezTo>
                  <a:lnTo>
                    <a:pt x="364" y="224"/>
                  </a:lnTo>
                  <a:close/>
                  <a:moveTo>
                    <a:pt x="364" y="148"/>
                  </a:moveTo>
                  <a:cubicBezTo>
                    <a:pt x="272" y="148"/>
                    <a:pt x="272" y="148"/>
                    <a:pt x="272" y="148"/>
                  </a:cubicBezTo>
                  <a:cubicBezTo>
                    <a:pt x="272" y="92"/>
                    <a:pt x="272" y="92"/>
                    <a:pt x="272" y="92"/>
                  </a:cubicBezTo>
                  <a:cubicBezTo>
                    <a:pt x="364" y="92"/>
                    <a:pt x="364" y="92"/>
                    <a:pt x="364" y="92"/>
                  </a:cubicBezTo>
                  <a:lnTo>
                    <a:pt x="364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 54"/>
            <p:cNvSpPr>
              <a:spLocks/>
            </p:cNvSpPr>
            <p:nvPr/>
          </p:nvSpPr>
          <p:spPr bwMode="auto">
            <a:xfrm>
              <a:off x="2633" y="1719"/>
              <a:ext cx="85" cy="151"/>
            </a:xfrm>
            <a:custGeom>
              <a:avLst/>
              <a:gdLst>
                <a:gd name="T0" fmla="*/ 36 w 36"/>
                <a:gd name="T1" fmla="*/ 16 h 64"/>
                <a:gd name="T2" fmla="*/ 21 w 36"/>
                <a:gd name="T3" fmla="*/ 0 h 64"/>
                <a:gd name="T4" fmla="*/ 17 w 36"/>
                <a:gd name="T5" fmla="*/ 0 h 64"/>
                <a:gd name="T6" fmla="*/ 0 w 36"/>
                <a:gd name="T7" fmla="*/ 16 h 64"/>
                <a:gd name="T8" fmla="*/ 0 w 36"/>
                <a:gd name="T9" fmla="*/ 64 h 64"/>
                <a:gd name="T10" fmla="*/ 36 w 36"/>
                <a:gd name="T11" fmla="*/ 64 h 64"/>
                <a:gd name="T12" fmla="*/ 36 w 36"/>
                <a:gd name="T13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4">
                  <a:moveTo>
                    <a:pt x="36" y="16"/>
                  </a:moveTo>
                  <a:cubicBezTo>
                    <a:pt x="36" y="7"/>
                    <a:pt x="30" y="0"/>
                    <a:pt x="21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16"/>
                    <a:pt x="36" y="16"/>
                    <a:pt x="3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 55"/>
            <p:cNvSpPr>
              <a:spLocks/>
            </p:cNvSpPr>
            <p:nvPr/>
          </p:nvSpPr>
          <p:spPr bwMode="auto">
            <a:xfrm>
              <a:off x="3058" y="1719"/>
              <a:ext cx="85" cy="151"/>
            </a:xfrm>
            <a:custGeom>
              <a:avLst/>
              <a:gdLst>
                <a:gd name="T0" fmla="*/ 36 w 36"/>
                <a:gd name="T1" fmla="*/ 16 h 64"/>
                <a:gd name="T2" fmla="*/ 20 w 36"/>
                <a:gd name="T3" fmla="*/ 0 h 64"/>
                <a:gd name="T4" fmla="*/ 16 w 36"/>
                <a:gd name="T5" fmla="*/ 0 h 64"/>
                <a:gd name="T6" fmla="*/ 0 w 36"/>
                <a:gd name="T7" fmla="*/ 16 h 64"/>
                <a:gd name="T8" fmla="*/ 0 w 36"/>
                <a:gd name="T9" fmla="*/ 64 h 64"/>
                <a:gd name="T10" fmla="*/ 36 w 36"/>
                <a:gd name="T11" fmla="*/ 64 h 64"/>
                <a:gd name="T12" fmla="*/ 36 w 36"/>
                <a:gd name="T13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64">
                  <a:moveTo>
                    <a:pt x="36" y="16"/>
                  </a:moveTo>
                  <a:cubicBezTo>
                    <a:pt x="36" y="7"/>
                    <a:pt x="29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16"/>
                    <a:pt x="36" y="16"/>
                    <a:pt x="3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extBox 3"/>
          <p:cNvSpPr txBox="1"/>
          <p:nvPr/>
        </p:nvSpPr>
        <p:spPr bwMode="gray">
          <a:xfrm>
            <a:off x="1885076" y="1556792"/>
            <a:ext cx="4301938" cy="9335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nderzoeksmethode</a:t>
            </a:r>
          </a:p>
          <a:p>
            <a:pPr algn="l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nline interviews (CAWI) </a:t>
            </a:r>
          </a:p>
          <a:p>
            <a:pPr algn="l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p het online GfK panel</a:t>
            </a:r>
          </a:p>
        </p:txBody>
      </p:sp>
      <p:sp>
        <p:nvSpPr>
          <p:cNvPr id="70" name="TextBox 69"/>
          <p:cNvSpPr txBox="1"/>
          <p:nvPr/>
        </p:nvSpPr>
        <p:spPr bwMode="gray">
          <a:xfrm>
            <a:off x="1885076" y="4030240"/>
            <a:ext cx="4301938" cy="1867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ample</a:t>
            </a:r>
          </a:p>
          <a:p>
            <a:pPr marL="227013" indent="-227013" algn="l" fontAlgn="auto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l-BE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 = 1000</a:t>
            </a:r>
          </a:p>
          <a:p>
            <a:pPr marL="227013" indent="-227013" algn="l" fontAlgn="auto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l-BE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5+</a:t>
            </a:r>
          </a:p>
          <a:p>
            <a:pPr marL="227013" indent="-227013" algn="l" fontAlgn="auto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l-BE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onend in België in de buurt van overwegen en/of nemen af en toe de trein</a:t>
            </a:r>
          </a:p>
          <a:p>
            <a:pPr marL="228594" indent="-228594" algn="l" fontAlgn="auto"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nl-BE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erkend of student</a:t>
            </a:r>
          </a:p>
        </p:txBody>
      </p:sp>
      <p:sp>
        <p:nvSpPr>
          <p:cNvPr id="72" name="TextBox 71"/>
          <p:cNvSpPr txBox="1"/>
          <p:nvPr/>
        </p:nvSpPr>
        <p:spPr bwMode="gray">
          <a:xfrm>
            <a:off x="1885076" y="2933258"/>
            <a:ext cx="4301938" cy="6052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ieldwork</a:t>
            </a:r>
            <a:r>
              <a:rPr lang="nl-BE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algn="l"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nl-BE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an 16 november tot 3 december 2018</a:t>
            </a:r>
          </a:p>
        </p:txBody>
      </p:sp>
      <p:sp>
        <p:nvSpPr>
          <p:cNvPr id="40" name="TextBox 39"/>
          <p:cNvSpPr txBox="1"/>
          <p:nvPr/>
        </p:nvSpPr>
        <p:spPr bwMode="gray">
          <a:xfrm>
            <a:off x="7214468" y="1455724"/>
            <a:ext cx="64113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Geslacht</a:t>
            </a:r>
          </a:p>
        </p:txBody>
      </p:sp>
      <p:graphicFrame>
        <p:nvGraphicFramePr>
          <p:cNvPr id="41" name="Chart 40"/>
          <p:cNvGraphicFramePr/>
          <p:nvPr>
            <p:extLst/>
          </p:nvPr>
        </p:nvGraphicFramePr>
        <p:xfrm>
          <a:off x="6828305" y="1937299"/>
          <a:ext cx="1306961" cy="1172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2" name="TextBox 29"/>
          <p:cNvSpPr txBox="1"/>
          <p:nvPr/>
        </p:nvSpPr>
        <p:spPr bwMode="gray">
          <a:xfrm>
            <a:off x="6964837" y="3004139"/>
            <a:ext cx="506774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b="1" dirty="0">
                <a:solidFill>
                  <a:srgbClr val="A2AD00"/>
                </a:solidFill>
                <a:latin typeface="Calibri" panose="020F0502020204030204" pitchFamily="34" charset="0"/>
                <a:cs typeface="Arial" pitchFamily="34" charset="0"/>
              </a:rPr>
              <a:t>49%</a:t>
            </a:r>
          </a:p>
        </p:txBody>
      </p:sp>
      <p:sp>
        <p:nvSpPr>
          <p:cNvPr id="43" name="Oval 22"/>
          <p:cNvSpPr>
            <a:spLocks noChangeAspect="1" noChangeArrowheads="1"/>
          </p:cNvSpPr>
          <p:nvPr/>
        </p:nvSpPr>
        <p:spPr bwMode="gray">
          <a:xfrm>
            <a:off x="7557484" y="2005788"/>
            <a:ext cx="529821" cy="1036488"/>
          </a:xfrm>
          <a:custGeom>
            <a:avLst/>
            <a:gdLst/>
            <a:ahLst/>
            <a:cxnLst/>
            <a:rect l="l" t="t" r="r" b="b"/>
            <a:pathLst>
              <a:path w="792000" h="1512210">
                <a:moveTo>
                  <a:pt x="288344" y="322130"/>
                </a:moveTo>
                <a:cubicBezTo>
                  <a:pt x="215811" y="322130"/>
                  <a:pt x="185590" y="361358"/>
                  <a:pt x="158389" y="442828"/>
                </a:cubicBezTo>
                <a:cubicBezTo>
                  <a:pt x="53452" y="769119"/>
                  <a:pt x="52619" y="771712"/>
                  <a:pt x="52612" y="771733"/>
                </a:cubicBezTo>
                <a:cubicBezTo>
                  <a:pt x="31455" y="835097"/>
                  <a:pt x="122122" y="865275"/>
                  <a:pt x="143277" y="801907"/>
                </a:cubicBezTo>
                <a:cubicBezTo>
                  <a:pt x="243011" y="497144"/>
                  <a:pt x="243011" y="497144"/>
                  <a:pt x="255099" y="497144"/>
                </a:cubicBezTo>
                <a:cubicBezTo>
                  <a:pt x="255099" y="1370648"/>
                  <a:pt x="255099" y="1375198"/>
                  <a:pt x="255099" y="1375224"/>
                </a:cubicBezTo>
                <a:cubicBezTo>
                  <a:pt x="255099" y="1468765"/>
                  <a:pt x="385054" y="1465748"/>
                  <a:pt x="385054" y="1375224"/>
                </a:cubicBezTo>
                <a:cubicBezTo>
                  <a:pt x="385054" y="868246"/>
                  <a:pt x="385054" y="865292"/>
                  <a:pt x="385054" y="865275"/>
                </a:cubicBezTo>
                <a:lnTo>
                  <a:pt x="400921" y="865275"/>
                </a:lnTo>
                <a:cubicBezTo>
                  <a:pt x="403189" y="1372241"/>
                  <a:pt x="403189" y="1375205"/>
                  <a:pt x="403189" y="1375224"/>
                </a:cubicBezTo>
                <a:cubicBezTo>
                  <a:pt x="406212" y="1465748"/>
                  <a:pt x="536167" y="1468765"/>
                  <a:pt x="536167" y="1375224"/>
                </a:cubicBezTo>
                <a:cubicBezTo>
                  <a:pt x="536167" y="993635"/>
                  <a:pt x="536167" y="991416"/>
                  <a:pt x="536167" y="991404"/>
                </a:cubicBezTo>
                <a:cubicBezTo>
                  <a:pt x="536167" y="497144"/>
                  <a:pt x="536167" y="497144"/>
                  <a:pt x="548255" y="497144"/>
                </a:cubicBezTo>
                <a:cubicBezTo>
                  <a:pt x="647196" y="799488"/>
                  <a:pt x="647983" y="801888"/>
                  <a:pt x="647989" y="801907"/>
                </a:cubicBezTo>
                <a:cubicBezTo>
                  <a:pt x="669145" y="865275"/>
                  <a:pt x="759811" y="835097"/>
                  <a:pt x="738654" y="771733"/>
                </a:cubicBezTo>
                <a:cubicBezTo>
                  <a:pt x="633721" y="445451"/>
                  <a:pt x="632883" y="442849"/>
                  <a:pt x="632876" y="442828"/>
                </a:cubicBezTo>
                <a:cubicBezTo>
                  <a:pt x="605678" y="361358"/>
                  <a:pt x="575455" y="322130"/>
                  <a:pt x="502921" y="322130"/>
                </a:cubicBezTo>
                <a:cubicBezTo>
                  <a:pt x="438402" y="322130"/>
                  <a:pt x="437649" y="322130"/>
                  <a:pt x="437641" y="322130"/>
                </a:cubicBezTo>
                <a:lnTo>
                  <a:pt x="401147" y="322130"/>
                </a:lnTo>
                <a:lnTo>
                  <a:pt x="396674" y="322130"/>
                </a:lnTo>
                <a:cubicBezTo>
                  <a:pt x="289470" y="322130"/>
                  <a:pt x="288357" y="322130"/>
                  <a:pt x="288344" y="322130"/>
                </a:cubicBezTo>
                <a:close/>
                <a:moveTo>
                  <a:pt x="395507" y="65677"/>
                </a:moveTo>
                <a:cubicBezTo>
                  <a:pt x="333247" y="65677"/>
                  <a:pt x="282773" y="116054"/>
                  <a:pt x="282773" y="178197"/>
                </a:cubicBezTo>
                <a:cubicBezTo>
                  <a:pt x="282773" y="240339"/>
                  <a:pt x="333247" y="290717"/>
                  <a:pt x="395507" y="290717"/>
                </a:cubicBezTo>
                <a:cubicBezTo>
                  <a:pt x="457769" y="290717"/>
                  <a:pt x="508244" y="240339"/>
                  <a:pt x="508244" y="178197"/>
                </a:cubicBezTo>
                <a:cubicBezTo>
                  <a:pt x="508244" y="116054"/>
                  <a:pt x="457769" y="65677"/>
                  <a:pt x="395507" y="65677"/>
                </a:cubicBezTo>
                <a:close/>
                <a:moveTo>
                  <a:pt x="0" y="0"/>
                </a:moveTo>
                <a:lnTo>
                  <a:pt x="792000" y="0"/>
                </a:lnTo>
                <a:lnTo>
                  <a:pt x="792000" y="1512210"/>
                </a:lnTo>
                <a:lnTo>
                  <a:pt x="0" y="15122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Oval 8"/>
          <p:cNvSpPr>
            <a:spLocks noChangeAspect="1" noChangeArrowheads="1"/>
          </p:cNvSpPr>
          <p:nvPr/>
        </p:nvSpPr>
        <p:spPr bwMode="gray">
          <a:xfrm>
            <a:off x="6948162" y="2005788"/>
            <a:ext cx="532612" cy="1036488"/>
          </a:xfrm>
          <a:custGeom>
            <a:avLst/>
            <a:gdLst/>
            <a:ahLst/>
            <a:cxnLst/>
            <a:rect l="l" t="t" r="r" b="b"/>
            <a:pathLst>
              <a:path w="792682" h="1512210">
                <a:moveTo>
                  <a:pt x="318311" y="317737"/>
                </a:moveTo>
                <a:cubicBezTo>
                  <a:pt x="237989" y="319588"/>
                  <a:pt x="191646" y="384368"/>
                  <a:pt x="180528" y="421384"/>
                </a:cubicBezTo>
                <a:cubicBezTo>
                  <a:pt x="180523" y="421404"/>
                  <a:pt x="179785" y="423835"/>
                  <a:pt x="83521" y="741576"/>
                </a:cubicBezTo>
                <a:cubicBezTo>
                  <a:pt x="62514" y="811909"/>
                  <a:pt x="151487" y="838438"/>
                  <a:pt x="173111" y="773041"/>
                </a:cubicBezTo>
                <a:cubicBezTo>
                  <a:pt x="173118" y="773022"/>
                  <a:pt x="173811" y="770639"/>
                  <a:pt x="259613" y="476291"/>
                </a:cubicBezTo>
                <a:lnTo>
                  <a:pt x="283710" y="476291"/>
                </a:lnTo>
                <a:cubicBezTo>
                  <a:pt x="283702" y="476320"/>
                  <a:pt x="282587" y="480233"/>
                  <a:pt x="135422" y="996993"/>
                </a:cubicBezTo>
                <a:cubicBezTo>
                  <a:pt x="135440" y="996993"/>
                  <a:pt x="136970" y="996993"/>
                  <a:pt x="273207" y="996993"/>
                </a:cubicBezTo>
                <a:cubicBezTo>
                  <a:pt x="273207" y="997016"/>
                  <a:pt x="273207" y="999984"/>
                  <a:pt x="273207" y="1386283"/>
                </a:cubicBezTo>
                <a:cubicBezTo>
                  <a:pt x="274442" y="1457230"/>
                  <a:pt x="380098" y="1457230"/>
                  <a:pt x="380717" y="1386283"/>
                </a:cubicBezTo>
                <a:cubicBezTo>
                  <a:pt x="380717" y="1386262"/>
                  <a:pt x="380717" y="1383383"/>
                  <a:pt x="380717" y="996993"/>
                </a:cubicBezTo>
                <a:lnTo>
                  <a:pt x="411609" y="996993"/>
                </a:lnTo>
                <a:cubicBezTo>
                  <a:pt x="411609" y="997016"/>
                  <a:pt x="411609" y="999984"/>
                  <a:pt x="411609" y="1386283"/>
                </a:cubicBezTo>
                <a:cubicBezTo>
                  <a:pt x="410990" y="1456612"/>
                  <a:pt x="516030" y="1457230"/>
                  <a:pt x="514794" y="1386283"/>
                </a:cubicBezTo>
                <a:cubicBezTo>
                  <a:pt x="514794" y="1386262"/>
                  <a:pt x="514794" y="1383383"/>
                  <a:pt x="514794" y="996993"/>
                </a:cubicBezTo>
                <a:cubicBezTo>
                  <a:pt x="514813" y="996993"/>
                  <a:pt x="516408" y="996993"/>
                  <a:pt x="656285" y="996993"/>
                </a:cubicBezTo>
                <a:cubicBezTo>
                  <a:pt x="656277" y="996964"/>
                  <a:pt x="655143" y="993064"/>
                  <a:pt x="504908" y="476291"/>
                </a:cubicBezTo>
                <a:lnTo>
                  <a:pt x="532093" y="476291"/>
                </a:lnTo>
                <a:cubicBezTo>
                  <a:pt x="532101" y="476312"/>
                  <a:pt x="532840" y="478849"/>
                  <a:pt x="618595" y="773041"/>
                </a:cubicBezTo>
                <a:cubicBezTo>
                  <a:pt x="639603" y="840288"/>
                  <a:pt x="727958" y="811291"/>
                  <a:pt x="708185" y="741576"/>
                </a:cubicBezTo>
                <a:cubicBezTo>
                  <a:pt x="708180" y="741559"/>
                  <a:pt x="707466" y="739185"/>
                  <a:pt x="611799" y="421384"/>
                </a:cubicBezTo>
                <a:cubicBezTo>
                  <a:pt x="598204" y="384986"/>
                  <a:pt x="551865" y="319588"/>
                  <a:pt x="473395" y="317737"/>
                </a:cubicBezTo>
                <a:cubicBezTo>
                  <a:pt x="473375" y="317737"/>
                  <a:pt x="471645" y="317737"/>
                  <a:pt x="318311" y="317737"/>
                </a:cubicBezTo>
                <a:close/>
                <a:moveTo>
                  <a:pt x="395891" y="63095"/>
                </a:moveTo>
                <a:cubicBezTo>
                  <a:pt x="333987" y="63095"/>
                  <a:pt x="283805" y="113202"/>
                  <a:pt x="283805" y="175008"/>
                </a:cubicBezTo>
                <a:cubicBezTo>
                  <a:pt x="283805" y="236817"/>
                  <a:pt x="333987" y="286923"/>
                  <a:pt x="395891" y="286923"/>
                </a:cubicBezTo>
                <a:cubicBezTo>
                  <a:pt x="457794" y="286923"/>
                  <a:pt x="507977" y="236817"/>
                  <a:pt x="507977" y="175008"/>
                </a:cubicBezTo>
                <a:cubicBezTo>
                  <a:pt x="507977" y="113202"/>
                  <a:pt x="457794" y="63095"/>
                  <a:pt x="395891" y="63095"/>
                </a:cubicBezTo>
                <a:close/>
                <a:moveTo>
                  <a:pt x="0" y="0"/>
                </a:moveTo>
                <a:lnTo>
                  <a:pt x="792682" y="0"/>
                </a:lnTo>
                <a:lnTo>
                  <a:pt x="792682" y="1512210"/>
                </a:lnTo>
                <a:lnTo>
                  <a:pt x="0" y="151221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45" name="TextBox 28"/>
          <p:cNvSpPr txBox="1"/>
          <p:nvPr/>
        </p:nvSpPr>
        <p:spPr bwMode="gray">
          <a:xfrm>
            <a:off x="7586254" y="3004139"/>
            <a:ext cx="546232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b="1" dirty="0">
                <a:solidFill>
                  <a:srgbClr val="007DC3"/>
                </a:solidFill>
                <a:latin typeface="Calibri" panose="020F0502020204030204" pitchFamily="34" charset="0"/>
                <a:cs typeface="Arial" pitchFamily="34" charset="0"/>
              </a:rPr>
              <a:t>51%</a:t>
            </a:r>
          </a:p>
        </p:txBody>
      </p:sp>
      <p:graphicFrame>
        <p:nvGraphicFramePr>
          <p:cNvPr id="46" name="Chart 45"/>
          <p:cNvGraphicFramePr/>
          <p:nvPr>
            <p:extLst/>
          </p:nvPr>
        </p:nvGraphicFramePr>
        <p:xfrm>
          <a:off x="8661239" y="1630855"/>
          <a:ext cx="2903058" cy="1962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7" name="TextBox 46"/>
          <p:cNvSpPr txBox="1"/>
          <p:nvPr/>
        </p:nvSpPr>
        <p:spPr bwMode="gray">
          <a:xfrm>
            <a:off x="9978318" y="1450733"/>
            <a:ext cx="55970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eftijd</a:t>
            </a:r>
          </a:p>
        </p:txBody>
      </p:sp>
      <p:sp>
        <p:nvSpPr>
          <p:cNvPr id="48" name="TextBox 47"/>
          <p:cNvSpPr txBox="1"/>
          <p:nvPr/>
        </p:nvSpPr>
        <p:spPr bwMode="gray">
          <a:xfrm>
            <a:off x="7228124" y="3924271"/>
            <a:ext cx="41415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gio</a:t>
            </a:r>
          </a:p>
        </p:txBody>
      </p:sp>
      <p:pic>
        <p:nvPicPr>
          <p:cNvPr id="65" name="Picture 2" descr="C:\Users\karolien.smets\Pictures\NL_la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7007" y="4494748"/>
            <a:ext cx="697779" cy="281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3" descr="C:\Users\karolien.smets\Pictures\FR_land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9509" y="5437137"/>
            <a:ext cx="639849" cy="40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6" descr="File:Flag map of Brussels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4920" y="4951666"/>
            <a:ext cx="321952" cy="335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Box 29"/>
          <p:cNvSpPr txBox="1"/>
          <p:nvPr/>
        </p:nvSpPr>
        <p:spPr bwMode="gray">
          <a:xfrm>
            <a:off x="7617950" y="4499283"/>
            <a:ext cx="506774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58%</a:t>
            </a:r>
          </a:p>
        </p:txBody>
      </p:sp>
      <p:sp>
        <p:nvSpPr>
          <p:cNvPr id="75" name="TextBox 29"/>
          <p:cNvSpPr txBox="1"/>
          <p:nvPr/>
        </p:nvSpPr>
        <p:spPr bwMode="gray">
          <a:xfrm>
            <a:off x="7586874" y="5009896"/>
            <a:ext cx="506774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10%</a:t>
            </a:r>
          </a:p>
        </p:txBody>
      </p:sp>
      <p:sp>
        <p:nvSpPr>
          <p:cNvPr id="76" name="TextBox 29"/>
          <p:cNvSpPr txBox="1"/>
          <p:nvPr/>
        </p:nvSpPr>
        <p:spPr bwMode="gray">
          <a:xfrm>
            <a:off x="7591630" y="5494352"/>
            <a:ext cx="506774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400"/>
              </a:spcBef>
              <a:spcAft>
                <a:spcPts val="0"/>
              </a:spcAft>
            </a:pPr>
            <a:r>
              <a:rPr lang="nl-BE" b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32%</a:t>
            </a:r>
          </a:p>
        </p:txBody>
      </p:sp>
      <p:graphicFrame>
        <p:nvGraphicFramePr>
          <p:cNvPr id="79" name="Chart 78"/>
          <p:cNvGraphicFramePr/>
          <p:nvPr>
            <p:extLst/>
          </p:nvPr>
        </p:nvGraphicFramePr>
        <p:xfrm>
          <a:off x="9092737" y="4248754"/>
          <a:ext cx="3019653" cy="2609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0" name="TextBox 79"/>
          <p:cNvSpPr txBox="1"/>
          <p:nvPr/>
        </p:nvSpPr>
        <p:spPr bwMode="gray">
          <a:xfrm>
            <a:off x="9798045" y="3924271"/>
            <a:ext cx="106888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fontAlgn="auto">
              <a:spcBef>
                <a:spcPts val="300"/>
              </a:spcBef>
              <a:spcAft>
                <a:spcPts val="0"/>
              </a:spcAft>
            </a:pPr>
            <a:r>
              <a:rPr lang="nl-BE" sz="1400" b="1" dirty="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eroep</a:t>
            </a:r>
          </a:p>
        </p:txBody>
      </p:sp>
    </p:spTree>
    <p:extLst>
      <p:ext uri="{BB962C8B-B14F-4D97-AF65-F5344CB8AC3E}">
        <p14:creationId xmlns:p14="http://schemas.microsoft.com/office/powerpoint/2010/main" val="1819983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 cstate="screen">
            <a:alphaModFix amt="48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 Verbindung 311"/>
          <p:cNvCxnSpPr/>
          <p:nvPr/>
        </p:nvCxnSpPr>
        <p:spPr bwMode="gray">
          <a:xfrm>
            <a:off x="0" y="4373195"/>
            <a:ext cx="12227131" cy="0"/>
          </a:xfrm>
          <a:prstGeom prst="line">
            <a:avLst/>
          </a:prstGeom>
          <a:noFill/>
          <a:ln w="28575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Oval 6"/>
          <p:cNvSpPr/>
          <p:nvPr/>
        </p:nvSpPr>
        <p:spPr bwMode="gray">
          <a:xfrm>
            <a:off x="1406739" y="2255279"/>
            <a:ext cx="4179096" cy="4235832"/>
          </a:xfrm>
          <a:prstGeom prst="ellipse">
            <a:avLst/>
          </a:prstGeom>
          <a:solidFill>
            <a:schemeClr val="bg1"/>
          </a:solidFill>
          <a:ln w="38100" cmpd="sng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nl-BE" sz="3200" b="1" dirty="0">
                <a:solidFill>
                  <a:srgbClr val="E55A00"/>
                </a:solidFill>
                <a:latin typeface="Calibri" panose="020F0502020204030204" pitchFamily="34" charset="0"/>
              </a:rPr>
              <a:t>Spoorlopen</a:t>
            </a:r>
            <a:br>
              <a:rPr lang="nl-BE" sz="3200" b="1" dirty="0">
                <a:solidFill>
                  <a:srgbClr val="E55A00"/>
                </a:solidFill>
                <a:latin typeface="Calibri" panose="020F0502020204030204" pitchFamily="34" charset="0"/>
              </a:rPr>
            </a:br>
            <a:r>
              <a:rPr lang="nl-BE" sz="3200" b="1" dirty="0">
                <a:solidFill>
                  <a:srgbClr val="E55A00"/>
                </a:solidFill>
                <a:latin typeface="Calibri" panose="020F0502020204030204" pitchFamily="34" charset="0"/>
              </a:rPr>
              <a:t>=</a:t>
            </a:r>
            <a:br>
              <a:rPr lang="nl-BE" sz="3200" b="1" dirty="0">
                <a:solidFill>
                  <a:srgbClr val="E55A00"/>
                </a:solidFill>
                <a:latin typeface="Calibri" panose="020F0502020204030204" pitchFamily="34" charset="0"/>
              </a:rPr>
            </a:br>
            <a:r>
              <a:rPr lang="nl-BE" sz="2000" b="1" dirty="0">
                <a:solidFill>
                  <a:srgbClr val="E55A00"/>
                </a:solidFill>
                <a:latin typeface="Calibri" panose="020F0502020204030204" pitchFamily="34" charset="0"/>
              </a:rPr>
              <a:t>gedragingen zoals op de sporen staan, in de buurt van sporen wandelen, van het ene naar het andere platform gaan, over een hek klimmen, ...</a:t>
            </a:r>
            <a:endParaRPr lang="nl-BE" b="1" dirty="0">
              <a:solidFill>
                <a:srgbClr val="E55A00"/>
              </a:solidFill>
              <a:latin typeface="Calibri" panose="020F0502020204030204" pitchFamily="34" charset="0"/>
            </a:endParaRPr>
          </a:p>
        </p:txBody>
      </p:sp>
      <p:sp>
        <p:nvSpPr>
          <p:cNvPr id="8" name="Oval 7"/>
          <p:cNvSpPr/>
          <p:nvPr/>
        </p:nvSpPr>
        <p:spPr bwMode="gray">
          <a:xfrm>
            <a:off x="7974253" y="2781974"/>
            <a:ext cx="3139816" cy="3182443"/>
          </a:xfrm>
          <a:prstGeom prst="ellipse">
            <a:avLst/>
          </a:prstGeom>
          <a:solidFill>
            <a:schemeClr val="tx2"/>
          </a:solidFill>
          <a:ln w="38100" cmpd="sng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nl-BE" sz="3200" b="1" dirty="0">
                <a:solidFill>
                  <a:srgbClr val="FFFFFF"/>
                </a:solidFill>
                <a:latin typeface="Calibri" panose="020F0502020204030204" pitchFamily="34" charset="0"/>
              </a:rPr>
              <a:t>14% </a:t>
            </a:r>
          </a:p>
          <a:p>
            <a:pPr algn="ctr" fontAlgn="auto">
              <a:spcBef>
                <a:spcPts val="0"/>
              </a:spcBef>
              <a:spcAft>
                <a:spcPts val="800"/>
              </a:spcAft>
              <a:defRPr/>
            </a:pPr>
            <a:r>
              <a:rPr lang="nl-BE" b="1" dirty="0">
                <a:solidFill>
                  <a:srgbClr val="FFFFFF"/>
                </a:solidFill>
                <a:latin typeface="Calibri" panose="020F0502020204030204" pitchFamily="34" charset="0"/>
              </a:rPr>
              <a:t>van de Belgische bevolking heeft minstens één van deze gedragingen gesteld in de afgelopen </a:t>
            </a:r>
            <a:br>
              <a:rPr lang="nl-BE" b="1" dirty="0">
                <a:solidFill>
                  <a:srgbClr val="FFFFFF"/>
                </a:solidFill>
                <a:latin typeface="Calibri" panose="020F0502020204030204" pitchFamily="34" charset="0"/>
              </a:rPr>
            </a:br>
            <a:r>
              <a:rPr lang="nl-BE" b="1" dirty="0">
                <a:solidFill>
                  <a:srgbClr val="FFFFFF"/>
                </a:solidFill>
                <a:latin typeface="Calibri" panose="020F0502020204030204" pitchFamily="34" charset="0"/>
              </a:rPr>
              <a:t>6 maanden</a:t>
            </a:r>
          </a:p>
        </p:txBody>
      </p:sp>
    </p:spTree>
    <p:extLst>
      <p:ext uri="{BB962C8B-B14F-4D97-AF65-F5344CB8AC3E}">
        <p14:creationId xmlns:p14="http://schemas.microsoft.com/office/powerpoint/2010/main" val="1827250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LPpSM9BEqS9l5PczEb4g"/>
  <p:tag name="VCTCREATESHAPEHANDLED" val="0"/>
  <p:tag name="VCT-ANGLE" val="6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WQINSfOUCBvIrzQGu5Sw"/>
  <p:tag name="VCTCREATESHAPEHANDLED" val="0"/>
  <p:tag name="VCT-ANGLE" val="6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7Sh4mdgku90Sr8YAih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Blank">
  <a:themeElements>
    <a:clrScheme name="Infrabel">
      <a:dk1>
        <a:srgbClr val="000000"/>
      </a:dk1>
      <a:lt1>
        <a:srgbClr val="FFFFFF"/>
      </a:lt1>
      <a:dk2>
        <a:srgbClr val="1D76CE"/>
      </a:dk2>
      <a:lt2>
        <a:srgbClr val="E6E6E6"/>
      </a:lt2>
      <a:accent1>
        <a:srgbClr val="1D76CE"/>
      </a:accent1>
      <a:accent2>
        <a:srgbClr val="FF6600"/>
      </a:accent2>
      <a:accent3>
        <a:srgbClr val="75C3FF"/>
      </a:accent3>
      <a:accent4>
        <a:srgbClr val="3BC861"/>
      </a:accent4>
      <a:accent5>
        <a:srgbClr val="FAC81A"/>
      </a:accent5>
      <a:accent6>
        <a:srgbClr val="D8D8D8"/>
      </a:accent6>
      <a:hlink>
        <a:srgbClr val="00BCF0"/>
      </a:hlink>
      <a:folHlink>
        <a:srgbClr val="BDE2F6"/>
      </a:folHlink>
    </a:clrScheme>
    <a:fontScheme name="Infrabe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83D0F0"/>
        </a:accent1>
        <a:accent2>
          <a:srgbClr val="005DA4"/>
        </a:accent2>
        <a:accent3>
          <a:srgbClr val="FFFFFF"/>
        </a:accent3>
        <a:accent4>
          <a:srgbClr val="000000"/>
        </a:accent4>
        <a:accent5>
          <a:srgbClr val="C1E4F6"/>
        </a:accent5>
        <a:accent6>
          <a:srgbClr val="005394"/>
        </a:accent6>
        <a:hlink>
          <a:srgbClr val="00BCF0"/>
        </a:hlink>
        <a:folHlink>
          <a:srgbClr val="BDE2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CB7E5"/>
        </a:accent1>
        <a:accent2>
          <a:srgbClr val="1660A4"/>
        </a:accent2>
        <a:accent3>
          <a:srgbClr val="FFFFFF"/>
        </a:accent3>
        <a:accent4>
          <a:srgbClr val="000000"/>
        </a:accent4>
        <a:accent5>
          <a:srgbClr val="BAD8F0"/>
        </a:accent5>
        <a:accent6>
          <a:srgbClr val="135694"/>
        </a:accent6>
        <a:hlink>
          <a:srgbClr val="008BCB"/>
        </a:hlink>
        <a:folHlink>
          <a:srgbClr val="1B43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3.xml><?xml version="1.0" encoding="utf-8"?>
<a:theme xmlns:a="http://schemas.openxmlformats.org/drawingml/2006/main" name="1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4.xml><?xml version="1.0" encoding="utf-8"?>
<a:theme xmlns:a="http://schemas.openxmlformats.org/drawingml/2006/main" name="template Powerpoint">
  <a:themeElements>
    <a:clrScheme name="Infrabel theme">
      <a:dk1>
        <a:srgbClr val="000000"/>
      </a:dk1>
      <a:lt1>
        <a:srgbClr val="FFFFFF"/>
      </a:lt1>
      <a:dk2>
        <a:srgbClr val="1660A4"/>
      </a:dk2>
      <a:lt2>
        <a:srgbClr val="6CB7E5"/>
      </a:lt2>
      <a:accent1>
        <a:srgbClr val="007DBE"/>
      </a:accent1>
      <a:accent2>
        <a:srgbClr val="009CDB"/>
      </a:accent2>
      <a:accent3>
        <a:srgbClr val="6CB7E5"/>
      </a:accent3>
      <a:accent4>
        <a:srgbClr val="1660A4"/>
      </a:accent4>
      <a:accent5>
        <a:srgbClr val="008BCB"/>
      </a:accent5>
      <a:accent6>
        <a:srgbClr val="1B4379"/>
      </a:accent6>
      <a:hlink>
        <a:srgbClr val="1B4379"/>
      </a:hlink>
      <a:folHlink>
        <a:srgbClr val="6CB7E5"/>
      </a:folHlink>
    </a:clrScheme>
    <a:fontScheme name="Infrabel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83D0F0"/>
        </a:accent1>
        <a:accent2>
          <a:srgbClr val="005DA4"/>
        </a:accent2>
        <a:accent3>
          <a:srgbClr val="FFFFFF"/>
        </a:accent3>
        <a:accent4>
          <a:srgbClr val="000000"/>
        </a:accent4>
        <a:accent5>
          <a:srgbClr val="C1E4F6"/>
        </a:accent5>
        <a:accent6>
          <a:srgbClr val="005394"/>
        </a:accent6>
        <a:hlink>
          <a:srgbClr val="00BCF0"/>
        </a:hlink>
        <a:folHlink>
          <a:srgbClr val="BDE2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E6E6E6"/>
        </a:lt2>
        <a:accent1>
          <a:srgbClr val="6CB7E5"/>
        </a:accent1>
        <a:accent2>
          <a:srgbClr val="1660A4"/>
        </a:accent2>
        <a:accent3>
          <a:srgbClr val="FFFFFF"/>
        </a:accent3>
        <a:accent4>
          <a:srgbClr val="000000"/>
        </a:accent4>
        <a:accent5>
          <a:srgbClr val="BAD8F0"/>
        </a:accent5>
        <a:accent6>
          <a:srgbClr val="135694"/>
        </a:accent6>
        <a:hlink>
          <a:srgbClr val="008BCB"/>
        </a:hlink>
        <a:folHlink>
          <a:srgbClr val="1B43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6CB7E5"/>
      </a:accent1>
      <a:accent2>
        <a:srgbClr val="1660A4"/>
      </a:accent2>
      <a:accent3>
        <a:srgbClr val="FFFFFF"/>
      </a:accent3>
      <a:accent4>
        <a:srgbClr val="000000"/>
      </a:accent4>
      <a:accent5>
        <a:srgbClr val="BAD8F0"/>
      </a:accent5>
      <a:accent6>
        <a:srgbClr val="135694"/>
      </a:accent6>
      <a:hlink>
        <a:srgbClr val="008BCB"/>
      </a:hlink>
      <a:folHlink>
        <a:srgbClr val="1B437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6CB7E5"/>
      </a:accent1>
      <a:accent2>
        <a:srgbClr val="1660A4"/>
      </a:accent2>
      <a:accent3>
        <a:srgbClr val="FFFFFF"/>
      </a:accent3>
      <a:accent4>
        <a:srgbClr val="000000"/>
      </a:accent4>
      <a:accent5>
        <a:srgbClr val="BAD8F0"/>
      </a:accent5>
      <a:accent6>
        <a:srgbClr val="135694"/>
      </a:accent6>
      <a:hlink>
        <a:srgbClr val="008BCB"/>
      </a:hlink>
      <a:folHlink>
        <a:srgbClr val="1B437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customXsn xmlns="http://schemas.microsoft.com/office/2006/metadata/customXsn">
  <xsnLocation>http://sharepoint.infrabel.be/sites/CPA/AllDocuments/Forms/Shared Document/b030b2b05071d27bcustomXsn.xsn</xsnLocation>
  <cached>True</cached>
  <openByDefault>False</openByDefault>
  <xsnScope>http://sharepoint.infrabel.be/sites/CPA/AllDocuments</xsnScope>
</customXs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Shared Document" ma:contentTypeID="0x0101002EB45A3260091541A31A000C40B3D0C60200A49199D311E0774CB42AC279BEE31239" ma:contentTypeVersion="231" ma:contentTypeDescription="Document type for the All Documents library." ma:contentTypeScope="" ma:versionID="c3502636bc16b17ada4a786976897d5e">
  <xsd:schema xmlns:xsd="http://www.w3.org/2001/XMLSchema" xmlns:xs="http://www.w3.org/2001/XMLSchema" xmlns:p="http://schemas.microsoft.com/office/2006/metadata/properties" xmlns:ns2="9146D560-C81C-4ECD-918E-6EB2CF8839E3" xmlns:ns3="9146d560-c81c-4ecd-918e-6eb2cf8839e3" xmlns:ns4="http://schemas.microsoft.com/sharepoint/v3/fields" xmlns:ns5="http://schemas.microsoft.com/sharepoint/v4" targetNamespace="http://schemas.microsoft.com/office/2006/metadata/properties" ma:root="true" ma:fieldsID="168ea4d5c8f31b0ce127c9dbf673d00e" ns2:_="" ns3:_="" ns4:_="" ns5:_="">
    <xsd:import namespace="9146D560-C81C-4ECD-918E-6EB2CF8839E3"/>
    <xsd:import namespace="9146d560-c81c-4ecd-918e-6eb2cf8839e3"/>
    <xsd:import namespace="http://schemas.microsoft.com/sharepoint/v3/fields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_x0020_language" minOccurs="0"/>
                <xsd:element ref="ns2:Project_x0020_leader" minOccurs="0"/>
                <xsd:element ref="ns4:V4HolidayDate" minOccurs="0"/>
                <xsd:element ref="ns3:Document_x0020_type"/>
                <xsd:element ref="ns2:Document_x0020_status"/>
                <xsd:element ref="ns3:LinkPriority" minOccurs="0"/>
                <xsd:element ref="ns2:End_x0020_product" minOccurs="0"/>
                <xsd:element ref="ns2:Event_x0020_type" minOccurs="0"/>
                <xsd:element ref="ns2:Channel" minOccurs="0"/>
                <xsd:element ref="ns2:Target_x0020_audience" minOccurs="0"/>
                <xsd:element ref="ns5:IconOverlay" minOccurs="0"/>
                <xsd:element ref="ns3:j031cb37127942009b7e56608c6ba96f" minOccurs="0"/>
                <xsd:element ref="ns3:TaxCatchAll" minOccurs="0"/>
                <xsd:element ref="ns3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46D560-C81C-4ECD-918E-6EB2CF8839E3" elementFormDefault="qualified">
    <xsd:import namespace="http://schemas.microsoft.com/office/2006/documentManagement/types"/>
    <xsd:import namespace="http://schemas.microsoft.com/office/infopath/2007/PartnerControls"/>
    <xsd:element name="Doc_x0020_language" ma:index="2" nillable="true" ma:displayName="Doc language" ma:format="RadioButtons" ma:indexed="true" ma:internalName="Doc_x0020_language" ma:readOnly="false">
      <xsd:simpleType>
        <xsd:restriction base="dms:Choice">
          <xsd:enumeration value="NL"/>
          <xsd:enumeration value="FR"/>
          <xsd:enumeration value="FR+NL"/>
          <xsd:enumeration value="ENG"/>
          <xsd:enumeration value="DE"/>
        </xsd:restriction>
      </xsd:simpleType>
    </xsd:element>
    <xsd:element name="Project_x0020_leader" ma:index="3" nillable="true" ma:displayName="Project leader" ma:list="UserInfo" ma:SharePointGroup="0" ma:internalName="Project_x0020_leader" ma:readOnly="fals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ocument_x0020_status" ma:index="7" ma:displayName="Document status" ma:default="Ongoing" ma:format="RadioButtons" ma:indexed="true" ma:internalName="Document_x0020_status">
      <xsd:simpleType>
        <xsd:restriction base="dms:Choice">
          <xsd:enumeration value="Ongoing"/>
          <xsd:enumeration value="Validated"/>
          <xsd:enumeration value="Closed"/>
          <xsd:enumeration value="For Archive"/>
        </xsd:restriction>
      </xsd:simpleType>
    </xsd:element>
    <xsd:element name="End_x0020_product" ma:index="9" nillable="true" ma:displayName="End product" ma:internalName="End_x0020_product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dvertising"/>
                    <xsd:enumeration value="Affiche"/>
                    <xsd:enumeration value="Annual report"/>
                    <xsd:enumeration value="Brochure"/>
                    <xsd:enumeration value="Documentation"/>
                    <xsd:enumeration value="Enquête"/>
                    <xsd:enumeration value="Fiche"/>
                    <xsd:enumeration value="Film"/>
                    <xsd:enumeration value="Gadget"/>
                    <xsd:enumeration value="Info Notice"/>
                    <xsd:enumeration value="Information Board"/>
                    <xsd:enumeration value="KPI"/>
                    <xsd:enumeration value="Noodplan d'urgence"/>
                    <xsd:enumeration value="Note"/>
                    <xsd:enumeration value="Presentation"/>
                    <xsd:enumeration value="Press article"/>
                    <xsd:enumeration value="Press release"/>
                    <xsd:enumeration value="Quality"/>
                    <xsd:enumeration value="Raamcontract-Cadre"/>
                    <xsd:enumeration value="Reply"/>
                    <xsd:enumeration value="Report"/>
                    <xsd:enumeration value="Reportage"/>
                    <xsd:enumeration value="Ticket"/>
                    <xsd:enumeration value="Webnews"/>
                  </xsd:restriction>
                </xsd:simpleType>
              </xsd:element>
            </xsd:sequence>
          </xsd:extension>
        </xsd:complexContent>
      </xsd:complexType>
    </xsd:element>
    <xsd:element name="Event_x0020_type" ma:index="10" nillable="true" ma:displayName="Event type" ma:internalName="Event_x0020_type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ménagements"/>
                    <xsd:enumeration value="Crisis exercise"/>
                    <xsd:enumeration value="Events crisis"/>
                    <xsd:enumeration value="Events spirits"/>
                    <xsd:enumeration value="Foire aux questions"/>
                    <xsd:enumeration value="Inauguration"/>
                    <xsd:enumeration value="Infolunch"/>
                    <xsd:enumeration value="Infosessie"/>
                    <xsd:enumeration value="Meeting/seminaries"/>
                    <xsd:enumeration value="Logotisation/Branding"/>
                    <xsd:enumeration value="Open Day"/>
                    <xsd:enumeration value="Pension"/>
                    <xsd:enumeration value="Press visit"/>
                    <xsd:enumeration value="Roadshow"/>
                    <xsd:enumeration value="Safety Desks/Platforms"/>
                    <xsd:enumeration value="Salons"/>
                    <xsd:enumeration value="Training"/>
                    <xsd:enumeration value="Visit"/>
                    <xsd:enumeration value="Welcome Days"/>
                    <xsd:enumeration value="Workshop"/>
                  </xsd:restriction>
                </xsd:simpleType>
              </xsd:element>
            </xsd:sequence>
          </xsd:extension>
        </xsd:complexContent>
      </xsd:complexType>
    </xsd:element>
    <xsd:element name="Channel" ma:index="11" nillable="true" ma:displayName="Channel" ma:internalName="Channel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ampaign"/>
                    <xsd:enumeration value="Facebook"/>
                    <xsd:enumeration value="Film"/>
                    <xsd:enumeration value="Google"/>
                    <xsd:enumeration value="Infrabel.be"/>
                    <xsd:enumeration value="Intranet"/>
                    <xsd:enumeration value="Key Figures"/>
                    <xsd:enumeration value="//Mag"/>
                    <xsd:enumeration value="MediaDoc"/>
                    <xsd:enumeration value="Monitoring"/>
                    <xsd:enumeration value="Press publication"/>
                    <xsd:enumeration value="SharePoint"/>
                    <xsd:enumeration value="Social media"/>
                    <xsd:enumeration value="//TV"/>
                    <xsd:enumeration value="//@Work"/>
                    <xsd:enumeration value="YouTube"/>
                  </xsd:restriction>
                </xsd:simpleType>
              </xsd:element>
            </xsd:sequence>
          </xsd:extension>
        </xsd:complexContent>
      </xsd:complexType>
    </xsd:element>
    <xsd:element name="Target_x0020_audience" ma:index="12" nillable="true" ma:displayName="Target audience" ma:internalName="Target_x0020_audienc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Brandweer-pompiers"/>
                    <xsd:enumeration value="Brussels government"/>
                    <xsd:enumeration value="Brussels Administration"/>
                    <xsd:enumeration value="Cabinet"/>
                    <xsd:enumeration value="CA-ExCom"/>
                    <xsd:enumeration value="CEO"/>
                    <xsd:enumeration value="Clients"/>
                    <xsd:enumeration value="Civil protection &amp; Logistic"/>
                    <xsd:enumeration value="Communauté atwork (rangs 3 et +)"/>
                    <xsd:enumeration value="Direct Management I-CPA"/>
                    <xsd:enumeration value="Emergency Services"/>
                    <xsd:enumeration value="Employee Infrabel"/>
                    <xsd:enumeration value="Engineers"/>
                    <xsd:enumeration value="European Commission"/>
                    <xsd:enumeration value="Federal administration"/>
                    <xsd:enumeration value="Federal government"/>
                    <xsd:enumeration value="Flemish administration"/>
                    <xsd:enumeration value="Flemish government"/>
                    <xsd:enumeration value="General Public"/>
                    <xsd:enumeration value="International Organizations"/>
                    <xsd:enumeration value="Journalists"/>
                    <xsd:enumeration value="Medical Services"/>
                    <xsd:enumeration value="Municipalities"/>
                    <xsd:enumeration value="Other railway enterprises"/>
                    <xsd:enumeration value="Police"/>
                    <xsd:enumeration value="Provinces"/>
                    <xsd:enumeration value="Residents"/>
                    <xsd:enumeration value="Suppliers"/>
                    <xsd:enumeration value="Trade unions"/>
                    <xsd:enumeration value="Traveller association"/>
                    <xsd:enumeration value="Walloon administration"/>
                    <xsd:enumeration value="Walloon government,"/>
                  </xsd:restriction>
                </xsd:simple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46d560-c81c-4ecd-918e-6eb2cf8839e3" elementFormDefault="qualified">
    <xsd:import namespace="http://schemas.microsoft.com/office/2006/documentManagement/types"/>
    <xsd:import namespace="http://schemas.microsoft.com/office/infopath/2007/PartnerControls"/>
    <xsd:element name="Document_x0020_type" ma:index="6" ma:displayName="Document type" ma:format="Dropdown" ma:indexed="true" ma:internalName="Document_x0020_type">
      <xsd:simpleType>
        <xsd:restriction base="dms:Choice">
          <xsd:enumeration value="Affiche"/>
          <xsd:enumeration value="Agenda"/>
          <xsd:enumeration value="Annual report"/>
          <xsd:enumeration value="Answer"/>
          <xsd:enumeration value="Briefing"/>
          <xsd:enumeration value="Brochure"/>
          <xsd:enumeration value="Cahier des charges - Bestek"/>
          <xsd:enumeration value="Documentation"/>
          <xsd:enumeration value="Email"/>
          <xsd:enumeration value="External Source"/>
          <xsd:enumeration value="Font"/>
          <xsd:enumeration value="Graph"/>
          <xsd:enumeration value="Illustration"/>
          <xsd:enumeration value="Info Notice"/>
          <xsd:enumeration value="Invitation"/>
          <xsd:enumeration value="Invoice"/>
          <xsd:enumeration value="Letter"/>
          <xsd:enumeration value="List"/>
          <xsd:enumeration value="Media content"/>
          <xsd:enumeration value="Messaging"/>
          <xsd:enumeration value="Newsletter"/>
          <xsd:enumeration value="Note"/>
          <xsd:enumeration value="Notification"/>
          <xsd:enumeration value="Maps"/>
          <xsd:enumeration value="Offer"/>
          <xsd:enumeration value="Order"/>
          <xsd:enumeration value="Organigram"/>
          <xsd:enumeration value="Presentation"/>
          <xsd:enumeration value="Press release"/>
          <xsd:enumeration value="Process and Guide"/>
          <xsd:enumeration value="PV"/>
          <xsd:enumeration value="Question"/>
          <xsd:enumeration value="Raamcontract-Cadre"/>
          <xsd:enumeration value="Reco"/>
          <xsd:enumeration value="Report"/>
          <xsd:enumeration value="Retroplanning"/>
          <xsd:enumeration value="Study"/>
          <xsd:enumeration value="Template"/>
          <xsd:enumeration value="Ticket"/>
          <xsd:enumeration value="Trombinoscoop"/>
          <xsd:enumeration value="Waiver"/>
        </xsd:restriction>
      </xsd:simpleType>
    </xsd:element>
    <xsd:element name="LinkPriority" ma:index="8" nillable="true" ma:displayName="LinkPriority" ma:description="Is this document linked to an Infrabel's priority ?" ma:internalName="LinkPriority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Safety"/>
                    <xsd:enumeration value="Punctuality"/>
                    <xsd:enumeration value="Capacity"/>
                    <xsd:enumeration value="Finances"/>
                    <xsd:enumeration value="CSR"/>
                  </xsd:restriction>
                </xsd:simpleType>
              </xsd:element>
            </xsd:sequence>
          </xsd:extension>
        </xsd:complexContent>
      </xsd:complexType>
    </xsd:element>
    <xsd:element name="j031cb37127942009b7e56608c6ba96f" ma:index="20" nillable="true" ma:taxonomy="true" ma:internalName="j031cb37127942009b7e56608c6ba96f" ma:taxonomyFieldName="OfficeDepartment" ma:displayName="OfficeDepartment" ma:default="" ma:fieldId="{3031cb37-1279-4200-9b7e-56608c6ba96f}" ma:taxonomyMulti="true" ma:sspId="3d6094cd-3bc6-45b6-8ea5-8cf90043f4be" ma:termSetId="995c9aae-32bd-4b6a-87e7-51bbd5758bb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21" nillable="true" ma:displayName="Taxonomy Catch All Column" ma:hidden="true" ma:list="{885670c5-120a-4702-b213-7171c2be7789}" ma:internalName="TaxCatchAll" ma:showField="CatchAllData" ma:web="9146d560-c81c-4ecd-918e-6eb2cf8839e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2" nillable="true" ma:displayName="Taxonomy Catch All Column1" ma:hidden="true" ma:list="{885670c5-120a-4702-b213-7171c2be7789}" ma:internalName="TaxCatchAllLabel" ma:readOnly="true" ma:showField="CatchAllDataLabel" ma:web="9146d560-c81c-4ecd-918e-6eb2cf8839e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V4HolidayDate" ma:index="5" nillable="true" ma:displayName="Date" ma:format="DateOnly" ma:indexed="true" ma:internalName="V4Holiday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8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1" ma:displayName="Title"/>
        <xsd:element ref="dc:subject" minOccurs="0" maxOccurs="1"/>
        <xsd:element ref="dc:description" minOccurs="0" maxOccurs="1" ma:index="13" ma:displayName="Comments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146d560-c81c-4ecd-918e-6eb2cf8839e3"/>
    <j031cb37127942009b7e56608c6ba96f xmlns="9146d560-c81c-4ecd-918e-6eb2cf8839e3">
      <Terms xmlns="http://schemas.microsoft.com/office/infopath/2007/PartnerControls"/>
    </j031cb37127942009b7e56608c6ba96f>
    <End_x0020_product xmlns="9146D560-C81C-4ECD-918E-6EB2CF8839E3">
      <Value>Presentation</Value>
    </End_x0020_product>
    <Project_x0020_leader xmlns="9146D560-C81C-4ECD-918E-6EB2CF8839E3">
      <UserInfo>
        <DisplayName/>
        <AccountId xsi:nil="true"/>
        <AccountType/>
      </UserInfo>
    </Project_x0020_leader>
    <Channel xmlns="9146D560-C81C-4ECD-918E-6EB2CF8839E3"/>
    <Event_x0020_type xmlns="9146D560-C81C-4ECD-918E-6EB2CF8839E3">
      <Value>Meeting/seminaries</Value>
    </Event_x0020_type>
    <Doc_x0020_language xmlns="9146D560-C81C-4ECD-918E-6EB2CF8839E3">NL</Doc_x0020_language>
    <Document_x0020_type xmlns="9146d560-c81c-4ecd-918e-6eb2cf8839e3">Presentation</Document_x0020_type>
    <Target_x0020_audience xmlns="9146D560-C81C-4ECD-918E-6EB2CF8839E3">
      <Value>CA-ExCom</Value>
      <Value>CEO</Value>
      <Value>Federal government</Value>
    </Target_x0020_audience>
    <LinkPriority xmlns="9146d560-c81c-4ecd-918e-6eb2cf8839e3"/>
    <V4HolidayDate xmlns="http://schemas.microsoft.com/sharepoint/v3/fields">2015-05-19T22:00:00+00:00</V4HolidayDate>
    <Document_x0020_status xmlns="9146D560-C81C-4ECD-918E-6EB2CF8839E3">Ongoing</Document_x0020_status>
    <IconOverlay xmlns="http://schemas.microsoft.com/sharepoint/v4" xsi:nil="true"/>
  </documentManagement>
</p:properties>
</file>

<file path=customXml/itemProps1.xml><?xml version="1.0" encoding="utf-8"?>
<ds:datastoreItem xmlns:ds="http://schemas.openxmlformats.org/officeDocument/2006/customXml" ds:itemID="{E4CE1EAA-350C-453C-B7F9-2DAB716FB314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E1652BDE-DD13-467D-9F4D-A6B2FC9028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46D560-C81C-4ECD-918E-6EB2CF8839E3"/>
    <ds:schemaRef ds:uri="9146d560-c81c-4ecd-918e-6eb2cf8839e3"/>
    <ds:schemaRef ds:uri="http://schemas.microsoft.com/sharepoint/v3/fields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2F4861D-F9B9-4D8B-A360-BE00BA9AD06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23FCFAC-3993-4C9A-A6E7-9A3DA4CCB142}">
  <ds:schemaRefs>
    <ds:schemaRef ds:uri="http://schemas.microsoft.com/sharepoint/v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9146d560-c81c-4ecd-918e-6eb2cf8839e3"/>
    <ds:schemaRef ds:uri="http://purl.org/dc/elements/1.1/"/>
    <ds:schemaRef ds:uri="http://schemas.microsoft.com/office/2006/metadata/properties"/>
    <ds:schemaRef ds:uri="http://schemas.microsoft.com/sharepoint/v3/fields"/>
    <ds:schemaRef ds:uri="9146D560-C81C-4ECD-918E-6EB2CF8839E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86</Words>
  <Application>Microsoft Office PowerPoint</Application>
  <PresentationFormat>Widescreen</PresentationFormat>
  <Paragraphs>566</Paragraphs>
  <Slides>44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4</vt:i4>
      </vt:variant>
    </vt:vector>
  </HeadingPairs>
  <TitlesOfParts>
    <vt:vector size="60" baseType="lpstr">
      <vt:lpstr>Arial</vt:lpstr>
      <vt:lpstr>Calibri</vt:lpstr>
      <vt:lpstr>Courier New</vt:lpstr>
      <vt:lpstr>fleche_rond</vt:lpstr>
      <vt:lpstr>Helvetica</vt:lpstr>
      <vt:lpstr>Helvetica 75 Bold</vt:lpstr>
      <vt:lpstr>Source Sans Pro</vt:lpstr>
      <vt:lpstr>Symbol</vt:lpstr>
      <vt:lpstr>Wingdings</vt:lpstr>
      <vt:lpstr>Wingdings 2</vt:lpstr>
      <vt:lpstr>Blank</vt:lpstr>
      <vt:lpstr>GfK Group</vt:lpstr>
      <vt:lpstr>1_GfK Group</vt:lpstr>
      <vt:lpstr>template Powerpoint</vt:lpstr>
      <vt:lpstr>think-cell Slide</vt:lpstr>
      <vt:lpstr>think-cell Folie</vt:lpstr>
      <vt:lpstr>Nationaal  Actieplan Railspect Samen sterk tegen risicovol  gedrag op het spoorwegdomein </vt:lpstr>
      <vt:lpstr>1. Context</vt:lpstr>
      <vt:lpstr>Spoorlopen - balans 2018</vt:lpstr>
      <vt:lpstr>Veiligheid aan overwegen - balans 2018</vt:lpstr>
      <vt:lpstr>Het probleem is te wijten aan het gedrag  aan de overwegen en langs de sporen: </vt:lpstr>
      <vt:lpstr>2. Studie over het risicogedrag</vt:lpstr>
      <vt:lpstr>PowerPoint Presentation</vt:lpstr>
      <vt:lpstr>Methodolog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3. Het Nationaal Actieplan Railspect</vt:lpstr>
      <vt:lpstr>Samenvatting van de studie en actiehefbomen   Spoorlopen</vt:lpstr>
      <vt:lpstr>Samenvatting van de studie en actiehefbomen   Gedrag aan overwegen</vt:lpstr>
      <vt:lpstr>Multidisciplinaire aanpak</vt:lpstr>
      <vt:lpstr>Nationaal Actieplan Railspect   Samen sterk tegen risicovol gedrag op het spoorwegdomein</vt:lpstr>
      <vt:lpstr>PowerPoint Presentation</vt:lpstr>
      <vt:lpstr>Aankondiging van het Nationaal  Actieplan Railspect </vt:lpstr>
      <vt:lpstr>Sensibiliseringscampagne voor  meer veiligheid aan overwegen </vt:lpstr>
      <vt:lpstr>Sensibiliseringscampagne tegen spoorlopen</vt:lpstr>
      <vt:lpstr>Jongeren: sensibilisering in scholen</vt:lpstr>
      <vt:lpstr>Sensibiliseringsactie in havengebieden</vt:lpstr>
      <vt:lpstr>PowerPoint Presentation</vt:lpstr>
      <vt:lpstr>Gerichte communicatieacties rond repressie</vt:lpstr>
      <vt:lpstr>PowerPoint Presentation</vt:lpstr>
      <vt:lpstr>Naast sensibiliseringscampagnes  en - acties en repressie</vt:lpstr>
      <vt:lpstr>Maatregelen tegen spoorlopen 2019</vt:lpstr>
      <vt:lpstr>Maatregelen om de overwegen in 2019 veiliger te maken</vt:lpstr>
      <vt:lpstr>4. Planning</vt:lpstr>
      <vt:lpstr>Planning 2019 </vt:lpstr>
      <vt:lpstr>Sneak preview: de trailer die onze nieuwe campagne officieel aftrapt!</vt:lpstr>
      <vt:lpstr>Wat is de beste aanpak?</vt:lpstr>
      <vt:lpstr>TRAILER!</vt:lpstr>
      <vt:lpstr>4. Vragen</vt:lpstr>
    </vt:vector>
  </TitlesOfParts>
  <Company>SNCB-Holding / NMBS-Hold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gemene vergadering aandeelhouders - LL</dc:title>
  <dc:creator>SNCB-Holding/NMBS-Holding</dc:creator>
  <cp:lastModifiedBy>Degueldre Séverine</cp:lastModifiedBy>
  <cp:revision>469</cp:revision>
  <cp:lastPrinted>2019-03-18T09:23:08Z</cp:lastPrinted>
  <dcterms:created xsi:type="dcterms:W3CDTF">2014-05-15T07:57:03Z</dcterms:created>
  <dcterms:modified xsi:type="dcterms:W3CDTF">2019-04-15T14:2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Department">
    <vt:lpwstr/>
  </property>
  <property fmtid="{D5CDD505-2E9C-101B-9397-08002B2CF9AE}" pid="3" name="ContentTypeId">
    <vt:lpwstr>0x0101002EB45A3260091541A31A000C40B3D0C60200A49199D311E0774CB42AC279BEE31239</vt:lpwstr>
  </property>
  <property fmtid="{D5CDD505-2E9C-101B-9397-08002B2CF9AE}" pid="4" name="URL">
    <vt:lpwstr>, </vt:lpwstr>
  </property>
</Properties>
</file>